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8" r:id="rId4"/>
    <p:sldId id="266" r:id="rId5"/>
    <p:sldId id="260" r:id="rId6"/>
    <p:sldId id="267" r:id="rId7"/>
    <p:sldId id="261" r:id="rId8"/>
    <p:sldId id="263" r:id="rId9"/>
    <p:sldId id="269" r:id="rId10"/>
    <p:sldId id="265" r:id="rId11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15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643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C3EEC-1110-4DC0-8847-34BDAA6EBE1E}" type="datetimeFigureOut">
              <a:rPr lang="en-IN" smtClean="0"/>
              <a:t>10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47D1E-21DF-4372-9324-AC19DD8C3C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183325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C3EEC-1110-4DC0-8847-34BDAA6EBE1E}" type="datetimeFigureOut">
              <a:rPr lang="en-IN" smtClean="0"/>
              <a:t>10-08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47D1E-21DF-4372-9324-AC19DD8C3C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640299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C3EEC-1110-4DC0-8847-34BDAA6EBE1E}" type="datetimeFigureOut">
              <a:rPr lang="en-IN" smtClean="0"/>
              <a:t>10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47D1E-21DF-4372-9324-AC19DD8C3C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709480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C3EEC-1110-4DC0-8847-34BDAA6EBE1E}" type="datetimeFigureOut">
              <a:rPr lang="en-IN" smtClean="0"/>
              <a:t>10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47D1E-21DF-4372-9324-AC19DD8C3CDD}" type="slidenum">
              <a:rPr lang="en-IN" smtClean="0"/>
              <a:t>‹#›</a:t>
            </a:fld>
            <a:endParaRPr lang="en-IN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4804095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C3EEC-1110-4DC0-8847-34BDAA6EBE1E}" type="datetimeFigureOut">
              <a:rPr lang="en-IN" smtClean="0"/>
              <a:t>10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47D1E-21DF-4372-9324-AC19DD8C3C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211588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C3EEC-1110-4DC0-8847-34BDAA6EBE1E}" type="datetimeFigureOut">
              <a:rPr lang="en-IN" smtClean="0"/>
              <a:t>10-08-2023</a:t>
            </a:fld>
            <a:endParaRPr lang="en-IN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47D1E-21DF-4372-9324-AC19DD8C3C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840609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C3EEC-1110-4DC0-8847-34BDAA6EBE1E}" type="datetimeFigureOut">
              <a:rPr lang="en-IN" smtClean="0"/>
              <a:t>10-08-2023</a:t>
            </a:fld>
            <a:endParaRPr lang="en-IN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47D1E-21DF-4372-9324-AC19DD8C3C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617003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C3EEC-1110-4DC0-8847-34BDAA6EBE1E}" type="datetimeFigureOut">
              <a:rPr lang="en-IN" smtClean="0"/>
              <a:t>10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47D1E-21DF-4372-9324-AC19DD8C3C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875961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C3EEC-1110-4DC0-8847-34BDAA6EBE1E}" type="datetimeFigureOut">
              <a:rPr lang="en-IN" smtClean="0"/>
              <a:t>10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47D1E-21DF-4372-9324-AC19DD8C3C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499701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C3EEC-1110-4DC0-8847-34BDAA6EBE1E}" type="datetimeFigureOut">
              <a:rPr lang="en-IN" smtClean="0"/>
              <a:t>10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47D1E-21DF-4372-9324-AC19DD8C3C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265074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C3EEC-1110-4DC0-8847-34BDAA6EBE1E}" type="datetimeFigureOut">
              <a:rPr lang="en-IN" smtClean="0"/>
              <a:t>10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47D1E-21DF-4372-9324-AC19DD8C3C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340140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C3EEC-1110-4DC0-8847-34BDAA6EBE1E}" type="datetimeFigureOut">
              <a:rPr lang="en-IN" smtClean="0"/>
              <a:t>10-08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47D1E-21DF-4372-9324-AC19DD8C3C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583568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C3EEC-1110-4DC0-8847-34BDAA6EBE1E}" type="datetimeFigureOut">
              <a:rPr lang="en-IN" smtClean="0"/>
              <a:t>10-08-2023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47D1E-21DF-4372-9324-AC19DD8C3C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582508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C3EEC-1110-4DC0-8847-34BDAA6EBE1E}" type="datetimeFigureOut">
              <a:rPr lang="en-IN" smtClean="0"/>
              <a:t>10-08-2023</a:t>
            </a:fld>
            <a:endParaRPr lang="en-IN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47D1E-21DF-4372-9324-AC19DD8C3C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766174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C3EEC-1110-4DC0-8847-34BDAA6EBE1E}" type="datetimeFigureOut">
              <a:rPr lang="en-IN" smtClean="0"/>
              <a:t>10-08-2023</a:t>
            </a:fld>
            <a:endParaRPr lang="en-IN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47D1E-21DF-4372-9324-AC19DD8C3C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280626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C3EEC-1110-4DC0-8847-34BDAA6EBE1E}" type="datetimeFigureOut">
              <a:rPr lang="en-IN" smtClean="0"/>
              <a:t>10-08-2023</a:t>
            </a:fld>
            <a:endParaRPr lang="en-IN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47D1E-21DF-4372-9324-AC19DD8C3C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032771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C3EEC-1110-4DC0-8847-34BDAA6EBE1E}" type="datetimeFigureOut">
              <a:rPr lang="en-IN" smtClean="0"/>
              <a:t>10-08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47D1E-21DF-4372-9324-AC19DD8C3C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907143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4F9DA46E-F965-4441-8121-699566793B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180712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73" imgH="476" progId="TCLayout.ActiveDocument.1">
                  <p:embed/>
                </p:oleObj>
              </mc:Choice>
              <mc:Fallback>
                <p:oleObj name="think-cell Slide" r:id="rId20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5D4C3EEC-1110-4DC0-8847-34BDAA6EBE1E}" type="datetimeFigureOut">
              <a:rPr lang="en-IN" smtClean="0"/>
              <a:t>10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F47D1E-21DF-4372-9324-AC19DD8C3CD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8855830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7.jp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8.png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437FFBC-CFB5-45C0-8A99-30EC13A650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6720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hand holding a device&#10;&#10;Description automatically generated">
            <a:extLst>
              <a:ext uri="{FF2B5EF4-FFF2-40B4-BE49-F238E27FC236}">
                <a16:creationId xmlns:a16="http://schemas.microsoft.com/office/drawing/2014/main" id="{A7E96E70-75E3-461D-847B-2470B92700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5504F2-3377-95C2-5706-CB92D48A3D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8847" y="5347999"/>
            <a:ext cx="10676261" cy="1500673"/>
          </a:xfrm>
        </p:spPr>
        <p:txBody>
          <a:bodyPr vert="horz"/>
          <a:lstStyle/>
          <a:p>
            <a:r>
              <a:rPr lang="en-IN" dirty="0"/>
              <a:t>Spam Detection Model</a:t>
            </a:r>
          </a:p>
        </p:txBody>
      </p:sp>
    </p:spTree>
    <p:extLst>
      <p:ext uri="{BB962C8B-B14F-4D97-AF65-F5344CB8AC3E}">
        <p14:creationId xmlns:p14="http://schemas.microsoft.com/office/powerpoint/2010/main" val="5803395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211C4B9-E850-4F5D-8B9C-4BF17BD2B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4855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A13695-9ACF-B0C5-9E4E-0188DDE62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3638" y="2869347"/>
            <a:ext cx="9404723" cy="1400530"/>
          </a:xfrm>
        </p:spPr>
        <p:txBody>
          <a:bodyPr vert="horz"/>
          <a:lstStyle/>
          <a:p>
            <a:pPr algn="ctr"/>
            <a:r>
              <a:rPr lang="en-IN" b="1" dirty="0">
                <a:solidFill>
                  <a:schemeClr val="bg1"/>
                </a:solidFill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9012236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3FCDF1F-1088-4DBA-86B3-AEEB6E3BFA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4844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F374F6-35A6-721E-EBEC-A39C73327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dirty="0"/>
              <a:t>Group Memb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69EB3F-EF34-895D-832A-DB0A09686F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Tx/>
            </a:pPr>
            <a:r>
              <a:rPr lang="en-IN" dirty="0"/>
              <a:t>Karandeep Singh</a:t>
            </a:r>
          </a:p>
          <a:p>
            <a:pPr>
              <a:buClrTx/>
            </a:pPr>
            <a:r>
              <a:rPr lang="en-IN" dirty="0"/>
              <a:t>Ransford </a:t>
            </a:r>
            <a:r>
              <a:rPr lang="en-IN" dirty="0" err="1"/>
              <a:t>Sekyi</a:t>
            </a:r>
            <a:endParaRPr lang="en-IN" dirty="0"/>
          </a:p>
          <a:p>
            <a:pPr>
              <a:buClrTx/>
            </a:pPr>
            <a:r>
              <a:rPr lang="en-IN" dirty="0" err="1"/>
              <a:t>Olusore</a:t>
            </a:r>
            <a:r>
              <a:rPr lang="en-IN" dirty="0"/>
              <a:t> </a:t>
            </a:r>
            <a:r>
              <a:rPr lang="en-IN" dirty="0" err="1"/>
              <a:t>Olateru</a:t>
            </a:r>
            <a:endParaRPr lang="en-IN" dirty="0"/>
          </a:p>
          <a:p>
            <a:pPr>
              <a:buClrTx/>
            </a:pPr>
            <a:r>
              <a:rPr lang="en-IN" dirty="0"/>
              <a:t>Mostapha Beydoun</a:t>
            </a:r>
          </a:p>
          <a:p>
            <a:pPr>
              <a:buClrTx/>
            </a:pPr>
            <a:r>
              <a:rPr lang="en-IN" dirty="0"/>
              <a:t>Hari </a:t>
            </a:r>
            <a:r>
              <a:rPr lang="en-IN" dirty="0" err="1"/>
              <a:t>Ramasey</a:t>
            </a:r>
            <a:r>
              <a:rPr lang="en-IN" dirty="0"/>
              <a:t> Priya </a:t>
            </a:r>
          </a:p>
          <a:p>
            <a:pPr marL="0" indent="0">
              <a:buNone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126570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34071CED-799A-44C0-ABA3-B37456AE34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6669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3E9392B-4D5C-140C-C43E-EA9E784C89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b="1" dirty="0">
                <a:solidFill>
                  <a:schemeClr val="bg1"/>
                </a:solidFill>
              </a:rPr>
              <a:t>Overview</a:t>
            </a:r>
          </a:p>
        </p:txBody>
      </p:sp>
      <p:grpSp>
        <p:nvGrpSpPr>
          <p:cNvPr id="23" name="Google Shape;3699;p109">
            <a:extLst>
              <a:ext uri="{FF2B5EF4-FFF2-40B4-BE49-F238E27FC236}">
                <a16:creationId xmlns:a16="http://schemas.microsoft.com/office/drawing/2014/main" id="{D630B8B9-527D-483A-B696-484CEB9391EC}"/>
              </a:ext>
            </a:extLst>
          </p:cNvPr>
          <p:cNvGrpSpPr/>
          <p:nvPr/>
        </p:nvGrpSpPr>
        <p:grpSpPr>
          <a:xfrm>
            <a:off x="6094975" y="1427533"/>
            <a:ext cx="5654113" cy="4555178"/>
            <a:chOff x="5512499" y="1548832"/>
            <a:chExt cx="6236589" cy="4555178"/>
          </a:xfrm>
        </p:grpSpPr>
        <p:sp>
          <p:nvSpPr>
            <p:cNvPr id="24" name="Google Shape;3700;p109">
              <a:extLst>
                <a:ext uri="{FF2B5EF4-FFF2-40B4-BE49-F238E27FC236}">
                  <a16:creationId xmlns:a16="http://schemas.microsoft.com/office/drawing/2014/main" id="{3BECA343-003D-4BDA-BE71-4900C4196470}"/>
                </a:ext>
              </a:extLst>
            </p:cNvPr>
            <p:cNvSpPr/>
            <p:nvPr/>
          </p:nvSpPr>
          <p:spPr>
            <a:xfrm>
              <a:off x="5875754" y="1595126"/>
              <a:ext cx="5873334" cy="7848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dirty="0">
                  <a:solidFill>
                    <a:schemeClr val="accent3"/>
                  </a:solidFill>
                  <a:latin typeface="Arial"/>
                  <a:ea typeface="Arial"/>
                  <a:cs typeface="Arial"/>
                  <a:sym typeface="Arial"/>
                </a:rPr>
                <a:t>Dataset Preparation </a:t>
              </a:r>
              <a:endParaRPr lang="en-GB" dirty="0">
                <a:sym typeface="Arial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0" i="0" kern="12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Collect a </a:t>
              </a:r>
              <a:r>
                <a:rPr lang="en-GB" sz="1400" b="0" i="0" kern="1200" dirty="0" err="1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labeled</a:t>
              </a:r>
              <a:r>
                <a:rPr lang="en-GB" sz="1400" b="0" i="0" kern="12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 dataset of spam and non-spam messages and split it into training and testing sets.</a:t>
              </a:r>
              <a:endParaRPr lang="en-US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Google Shape;3701;p109">
              <a:extLst>
                <a:ext uri="{FF2B5EF4-FFF2-40B4-BE49-F238E27FC236}">
                  <a16:creationId xmlns:a16="http://schemas.microsoft.com/office/drawing/2014/main" id="{95D06DE8-45EC-4D03-A101-1F5F2E4EAE54}"/>
                </a:ext>
              </a:extLst>
            </p:cNvPr>
            <p:cNvSpPr/>
            <p:nvPr/>
          </p:nvSpPr>
          <p:spPr>
            <a:xfrm>
              <a:off x="5875754" y="2526140"/>
              <a:ext cx="5873334" cy="7848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45700" anchor="t" anchorCtr="0">
              <a:noAutofit/>
            </a:bodyPr>
            <a:lstStyle/>
            <a:p>
              <a:r>
                <a:rPr lang="en-GB" sz="1200" b="1" dirty="0">
                  <a:solidFill>
                    <a:schemeClr val="accent5"/>
                  </a:solidFill>
                  <a:latin typeface="Arial"/>
                  <a:cs typeface="Arial"/>
                </a:rPr>
                <a:t>Text Pre-processing</a:t>
              </a:r>
              <a:endParaRPr lang="en-GB" sz="1200" b="1" dirty="0">
                <a:solidFill>
                  <a:schemeClr val="accent5"/>
                </a:solidFill>
                <a:latin typeface="Arial"/>
                <a:cs typeface="Arial"/>
                <a:sym typeface="Arial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0" i="0" kern="12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Clean the text data by removing irrelevant information, convert it to lowercase, tokenize it into words or n-grams, and remove stop words.</a:t>
              </a:r>
              <a:endParaRPr lang="en-US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6" name="Google Shape;3702;p109">
              <a:extLst>
                <a:ext uri="{FF2B5EF4-FFF2-40B4-BE49-F238E27FC236}">
                  <a16:creationId xmlns:a16="http://schemas.microsoft.com/office/drawing/2014/main" id="{163B3900-5E2D-47F4-8CA6-0660483BCED3}"/>
                </a:ext>
              </a:extLst>
            </p:cNvPr>
            <p:cNvSpPr/>
            <p:nvPr/>
          </p:nvSpPr>
          <p:spPr>
            <a:xfrm>
              <a:off x="5875754" y="3457154"/>
              <a:ext cx="5873334" cy="7848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45700" anchor="t" anchorCtr="0">
              <a:noAutofit/>
            </a:bodyPr>
            <a:lstStyle/>
            <a:p>
              <a:pPr marL="0" marR="0" indent="0" rtl="0" eaLnBrk="1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sz="1200" b="1" dirty="0">
                  <a:solidFill>
                    <a:schemeClr val="dk1"/>
                  </a:solidFill>
                  <a:latin typeface="Arial"/>
                  <a:cs typeface="Arial"/>
                </a:rPr>
                <a:t>Feature Extraction using TF-IDF</a:t>
              </a:r>
              <a:r>
                <a:rPr lang="en-GB" sz="1200" b="1" dirty="0">
                  <a:solidFill>
                    <a:schemeClr val="dk1"/>
                  </a:solidFill>
                  <a:latin typeface="Arial"/>
                  <a:cs typeface="Arial"/>
                  <a:sym typeface="Arial"/>
                </a:rPr>
                <a:t> </a:t>
              </a:r>
              <a:endParaRPr lang="en-GB" sz="1200" b="1" dirty="0">
                <a:solidFill>
                  <a:schemeClr val="dk1"/>
                </a:solidFill>
                <a:latin typeface="Arial"/>
                <a:cs typeface="Arial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0" i="0" kern="12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Apply TF-IDF vectorization to represent the text as numerical features, giving more weight to important words and less weight to common words.</a:t>
              </a:r>
              <a:endParaRPr dirty="0"/>
            </a:p>
          </p:txBody>
        </p:sp>
        <p:sp>
          <p:nvSpPr>
            <p:cNvPr id="27" name="Google Shape;3703;p109">
              <a:extLst>
                <a:ext uri="{FF2B5EF4-FFF2-40B4-BE49-F238E27FC236}">
                  <a16:creationId xmlns:a16="http://schemas.microsoft.com/office/drawing/2014/main" id="{3D4F4DCB-95D0-4D47-B0EB-797E9295F504}"/>
                </a:ext>
              </a:extLst>
            </p:cNvPr>
            <p:cNvSpPr/>
            <p:nvPr/>
          </p:nvSpPr>
          <p:spPr>
            <a:xfrm>
              <a:off x="5875754" y="4388168"/>
              <a:ext cx="5873334" cy="7848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45700" anchor="t" anchorCtr="0">
              <a:noAutofit/>
            </a:bodyPr>
            <a:lstStyle/>
            <a:p>
              <a:pPr marL="0" marR="0" lvl="0" indent="0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dirty="0">
                  <a:solidFill>
                    <a:schemeClr val="accent1"/>
                  </a:solidFill>
                  <a:latin typeface="Arial"/>
                  <a:cs typeface="Arial"/>
                </a:rPr>
                <a:t>Training the SVM Model</a:t>
              </a:r>
              <a:endParaRPr lang="en-GB" sz="1200" b="1" dirty="0">
                <a:solidFill>
                  <a:schemeClr val="accent1"/>
                </a:solidFill>
                <a:latin typeface="Arial"/>
                <a:cs typeface="Arial"/>
                <a:sym typeface="Arial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0" i="0" kern="12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Use the TF-IDF vectors as input features and the corresponding labels as the target variable to train an SVM classifier. SVM finds an optimal hyperplane to separate different classes.</a:t>
              </a:r>
              <a:endParaRPr lang="en-US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Google Shape;3704;p109">
              <a:extLst>
                <a:ext uri="{FF2B5EF4-FFF2-40B4-BE49-F238E27FC236}">
                  <a16:creationId xmlns:a16="http://schemas.microsoft.com/office/drawing/2014/main" id="{8D2B5A35-C73B-4E8A-ACDA-CA56D72E1C53}"/>
                </a:ext>
              </a:extLst>
            </p:cNvPr>
            <p:cNvSpPr/>
            <p:nvPr/>
          </p:nvSpPr>
          <p:spPr>
            <a:xfrm>
              <a:off x="5875754" y="5319181"/>
              <a:ext cx="5873334" cy="7848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 dirty="0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Model Evaluation </a:t>
              </a:r>
              <a:endParaRPr lang="en-GB" dirty="0">
                <a:sym typeface="Arial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400" b="0" i="0" kern="120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Assess the trained SVM model's performance using metrics such as accuracy.</a:t>
              </a:r>
              <a:endParaRPr lang="en-US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Google Shape;3705;p109">
              <a:extLst>
                <a:ext uri="{FF2B5EF4-FFF2-40B4-BE49-F238E27FC236}">
                  <a16:creationId xmlns:a16="http://schemas.microsoft.com/office/drawing/2014/main" id="{842FCF88-E916-4998-AA03-1A19970A23B5}"/>
                </a:ext>
              </a:extLst>
            </p:cNvPr>
            <p:cNvSpPr/>
            <p:nvPr/>
          </p:nvSpPr>
          <p:spPr>
            <a:xfrm>
              <a:off x="5512499" y="1548832"/>
              <a:ext cx="267575" cy="26757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01</a:t>
              </a:r>
              <a:endParaRPr/>
            </a:p>
          </p:txBody>
        </p:sp>
        <p:sp>
          <p:nvSpPr>
            <p:cNvPr id="30" name="Google Shape;3706;p109">
              <a:extLst>
                <a:ext uri="{FF2B5EF4-FFF2-40B4-BE49-F238E27FC236}">
                  <a16:creationId xmlns:a16="http://schemas.microsoft.com/office/drawing/2014/main" id="{4F1C71ED-A6D4-4B0B-8088-32F1791E99EC}"/>
                </a:ext>
              </a:extLst>
            </p:cNvPr>
            <p:cNvSpPr/>
            <p:nvPr/>
          </p:nvSpPr>
          <p:spPr>
            <a:xfrm>
              <a:off x="5512499" y="2474831"/>
              <a:ext cx="267575" cy="26757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02</a:t>
              </a:r>
              <a:endParaRPr/>
            </a:p>
          </p:txBody>
        </p:sp>
        <p:sp>
          <p:nvSpPr>
            <p:cNvPr id="31" name="Google Shape;3707;p109">
              <a:extLst>
                <a:ext uri="{FF2B5EF4-FFF2-40B4-BE49-F238E27FC236}">
                  <a16:creationId xmlns:a16="http://schemas.microsoft.com/office/drawing/2014/main" id="{F28511C8-5E90-485B-B0EF-CFA92EC6D0D3}"/>
                </a:ext>
              </a:extLst>
            </p:cNvPr>
            <p:cNvSpPr/>
            <p:nvPr/>
          </p:nvSpPr>
          <p:spPr>
            <a:xfrm>
              <a:off x="5512499" y="3418554"/>
              <a:ext cx="267575" cy="26757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03</a:t>
              </a:r>
              <a:endParaRPr/>
            </a:p>
          </p:txBody>
        </p:sp>
        <p:sp>
          <p:nvSpPr>
            <p:cNvPr id="32" name="Google Shape;3708;p109">
              <a:extLst>
                <a:ext uri="{FF2B5EF4-FFF2-40B4-BE49-F238E27FC236}">
                  <a16:creationId xmlns:a16="http://schemas.microsoft.com/office/drawing/2014/main" id="{BA07CCAD-1436-4CFD-A129-0F8D14ADDC27}"/>
                </a:ext>
              </a:extLst>
            </p:cNvPr>
            <p:cNvSpPr/>
            <p:nvPr/>
          </p:nvSpPr>
          <p:spPr>
            <a:xfrm>
              <a:off x="5512499" y="4355844"/>
              <a:ext cx="267575" cy="2675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04</a:t>
              </a:r>
              <a:endParaRPr/>
            </a:p>
          </p:txBody>
        </p:sp>
        <p:sp>
          <p:nvSpPr>
            <p:cNvPr id="33" name="Google Shape;3709;p109">
              <a:extLst>
                <a:ext uri="{FF2B5EF4-FFF2-40B4-BE49-F238E27FC236}">
                  <a16:creationId xmlns:a16="http://schemas.microsoft.com/office/drawing/2014/main" id="{5246E49F-3EFB-4466-B90E-08C7767C5D98}"/>
                </a:ext>
              </a:extLst>
            </p:cNvPr>
            <p:cNvSpPr/>
            <p:nvPr/>
          </p:nvSpPr>
          <p:spPr>
            <a:xfrm>
              <a:off x="5512499" y="5279195"/>
              <a:ext cx="267575" cy="267575"/>
            </a:xfrm>
            <a:prstGeom prst="ellipse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2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05</a:t>
              </a:r>
              <a:endParaRPr/>
            </a:p>
          </p:txBody>
        </p:sp>
      </p:grpSp>
      <p:grpSp>
        <p:nvGrpSpPr>
          <p:cNvPr id="34" name="Google Shape;3736;p110">
            <a:extLst>
              <a:ext uri="{FF2B5EF4-FFF2-40B4-BE49-F238E27FC236}">
                <a16:creationId xmlns:a16="http://schemas.microsoft.com/office/drawing/2014/main" id="{FD1B61D7-32A0-48E7-8FAA-DDB4DA535381}"/>
              </a:ext>
            </a:extLst>
          </p:cNvPr>
          <p:cNvGrpSpPr/>
          <p:nvPr/>
        </p:nvGrpSpPr>
        <p:grpSpPr>
          <a:xfrm>
            <a:off x="458791" y="1476845"/>
            <a:ext cx="5178718" cy="4722840"/>
            <a:chOff x="6371801" y="1190054"/>
            <a:chExt cx="5178718" cy="4722840"/>
          </a:xfrm>
        </p:grpSpPr>
        <p:sp>
          <p:nvSpPr>
            <p:cNvPr id="35" name="Google Shape;3737;p110">
              <a:extLst>
                <a:ext uri="{FF2B5EF4-FFF2-40B4-BE49-F238E27FC236}">
                  <a16:creationId xmlns:a16="http://schemas.microsoft.com/office/drawing/2014/main" id="{878D26EE-7A13-4331-AD95-0A5778DF6385}"/>
                </a:ext>
              </a:extLst>
            </p:cNvPr>
            <p:cNvSpPr/>
            <p:nvPr/>
          </p:nvSpPr>
          <p:spPr>
            <a:xfrm>
              <a:off x="8066050" y="2866398"/>
              <a:ext cx="1601448" cy="1387775"/>
            </a:xfrm>
            <a:custGeom>
              <a:avLst/>
              <a:gdLst/>
              <a:ahLst/>
              <a:cxnLst/>
              <a:rect l="l" t="t" r="r" b="b"/>
              <a:pathLst>
                <a:path w="1454" h="1260" extrusionOk="0">
                  <a:moveTo>
                    <a:pt x="364" y="1260"/>
                  </a:moveTo>
                  <a:lnTo>
                    <a:pt x="0" y="630"/>
                  </a:lnTo>
                  <a:lnTo>
                    <a:pt x="364" y="0"/>
                  </a:lnTo>
                  <a:lnTo>
                    <a:pt x="1090" y="0"/>
                  </a:lnTo>
                  <a:lnTo>
                    <a:pt x="1454" y="630"/>
                  </a:lnTo>
                  <a:lnTo>
                    <a:pt x="1090" y="1260"/>
                  </a:lnTo>
                  <a:lnTo>
                    <a:pt x="364" y="12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" name="Google Shape;3738;p110">
              <a:extLst>
                <a:ext uri="{FF2B5EF4-FFF2-40B4-BE49-F238E27FC236}">
                  <a16:creationId xmlns:a16="http://schemas.microsoft.com/office/drawing/2014/main" id="{6DC4EA66-25DB-47CB-ADF9-5E860705DA58}"/>
                </a:ext>
              </a:extLst>
            </p:cNvPr>
            <p:cNvSpPr/>
            <p:nvPr/>
          </p:nvSpPr>
          <p:spPr>
            <a:xfrm>
              <a:off x="7136462" y="1190054"/>
              <a:ext cx="2138935" cy="2246873"/>
            </a:xfrm>
            <a:custGeom>
              <a:avLst/>
              <a:gdLst/>
              <a:ahLst/>
              <a:cxnLst/>
              <a:rect l="l" t="t" r="r" b="b"/>
              <a:pathLst>
                <a:path w="1942" h="2040" extrusionOk="0">
                  <a:moveTo>
                    <a:pt x="1942" y="32"/>
                  </a:moveTo>
                  <a:lnTo>
                    <a:pt x="1942" y="32"/>
                  </a:lnTo>
                  <a:lnTo>
                    <a:pt x="1850" y="18"/>
                  </a:lnTo>
                  <a:lnTo>
                    <a:pt x="1758" y="8"/>
                  </a:lnTo>
                  <a:lnTo>
                    <a:pt x="1664" y="2"/>
                  </a:lnTo>
                  <a:lnTo>
                    <a:pt x="1568" y="0"/>
                  </a:lnTo>
                  <a:lnTo>
                    <a:pt x="1568" y="0"/>
                  </a:lnTo>
                  <a:lnTo>
                    <a:pt x="1510" y="2"/>
                  </a:lnTo>
                  <a:lnTo>
                    <a:pt x="1452" y="4"/>
                  </a:lnTo>
                  <a:lnTo>
                    <a:pt x="1396" y="8"/>
                  </a:lnTo>
                  <a:lnTo>
                    <a:pt x="1338" y="12"/>
                  </a:lnTo>
                  <a:lnTo>
                    <a:pt x="1282" y="20"/>
                  </a:lnTo>
                  <a:lnTo>
                    <a:pt x="1226" y="28"/>
                  </a:lnTo>
                  <a:lnTo>
                    <a:pt x="1172" y="36"/>
                  </a:lnTo>
                  <a:lnTo>
                    <a:pt x="1116" y="48"/>
                  </a:lnTo>
                  <a:lnTo>
                    <a:pt x="1062" y="60"/>
                  </a:lnTo>
                  <a:lnTo>
                    <a:pt x="1008" y="74"/>
                  </a:lnTo>
                  <a:lnTo>
                    <a:pt x="956" y="90"/>
                  </a:lnTo>
                  <a:lnTo>
                    <a:pt x="902" y="106"/>
                  </a:lnTo>
                  <a:lnTo>
                    <a:pt x="850" y="124"/>
                  </a:lnTo>
                  <a:lnTo>
                    <a:pt x="800" y="142"/>
                  </a:lnTo>
                  <a:lnTo>
                    <a:pt x="748" y="162"/>
                  </a:lnTo>
                  <a:lnTo>
                    <a:pt x="698" y="184"/>
                  </a:lnTo>
                  <a:lnTo>
                    <a:pt x="648" y="206"/>
                  </a:lnTo>
                  <a:lnTo>
                    <a:pt x="600" y="230"/>
                  </a:lnTo>
                  <a:lnTo>
                    <a:pt x="552" y="256"/>
                  </a:lnTo>
                  <a:lnTo>
                    <a:pt x="504" y="282"/>
                  </a:lnTo>
                  <a:lnTo>
                    <a:pt x="458" y="310"/>
                  </a:lnTo>
                  <a:lnTo>
                    <a:pt x="412" y="338"/>
                  </a:lnTo>
                  <a:lnTo>
                    <a:pt x="366" y="368"/>
                  </a:lnTo>
                  <a:lnTo>
                    <a:pt x="322" y="400"/>
                  </a:lnTo>
                  <a:lnTo>
                    <a:pt x="280" y="432"/>
                  </a:lnTo>
                  <a:lnTo>
                    <a:pt x="236" y="464"/>
                  </a:lnTo>
                  <a:lnTo>
                    <a:pt x="194" y="498"/>
                  </a:lnTo>
                  <a:lnTo>
                    <a:pt x="154" y="534"/>
                  </a:lnTo>
                  <a:lnTo>
                    <a:pt x="114" y="570"/>
                  </a:lnTo>
                  <a:lnTo>
                    <a:pt x="74" y="606"/>
                  </a:lnTo>
                  <a:lnTo>
                    <a:pt x="36" y="644"/>
                  </a:lnTo>
                  <a:lnTo>
                    <a:pt x="0" y="684"/>
                  </a:lnTo>
                  <a:lnTo>
                    <a:pt x="782" y="2040"/>
                  </a:lnTo>
                  <a:lnTo>
                    <a:pt x="1942" y="3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7" name="Google Shape;3739;p110">
              <a:extLst>
                <a:ext uri="{FF2B5EF4-FFF2-40B4-BE49-F238E27FC236}">
                  <a16:creationId xmlns:a16="http://schemas.microsoft.com/office/drawing/2014/main" id="{0C0F9843-3B49-4B02-A0E5-959FC4AD0DF0}"/>
                </a:ext>
              </a:extLst>
            </p:cNvPr>
            <p:cNvSpPr/>
            <p:nvPr/>
          </p:nvSpPr>
          <p:spPr>
            <a:xfrm>
              <a:off x="8477977" y="3694657"/>
              <a:ext cx="2110299" cy="2218237"/>
            </a:xfrm>
            <a:custGeom>
              <a:avLst/>
              <a:gdLst/>
              <a:ahLst/>
              <a:cxnLst/>
              <a:rect l="l" t="t" r="r" b="b"/>
              <a:pathLst>
                <a:path w="1916" h="2014" extrusionOk="0">
                  <a:moveTo>
                    <a:pt x="0" y="1986"/>
                  </a:moveTo>
                  <a:lnTo>
                    <a:pt x="0" y="1986"/>
                  </a:lnTo>
                  <a:lnTo>
                    <a:pt x="86" y="1998"/>
                  </a:lnTo>
                  <a:lnTo>
                    <a:pt x="174" y="2006"/>
                  </a:lnTo>
                  <a:lnTo>
                    <a:pt x="262" y="2012"/>
                  </a:lnTo>
                  <a:lnTo>
                    <a:pt x="350" y="2014"/>
                  </a:lnTo>
                  <a:lnTo>
                    <a:pt x="350" y="2014"/>
                  </a:lnTo>
                  <a:lnTo>
                    <a:pt x="408" y="2012"/>
                  </a:lnTo>
                  <a:lnTo>
                    <a:pt x="466" y="2010"/>
                  </a:lnTo>
                  <a:lnTo>
                    <a:pt x="522" y="2006"/>
                  </a:lnTo>
                  <a:lnTo>
                    <a:pt x="578" y="2002"/>
                  </a:lnTo>
                  <a:lnTo>
                    <a:pt x="634" y="1994"/>
                  </a:lnTo>
                  <a:lnTo>
                    <a:pt x="690" y="1986"/>
                  </a:lnTo>
                  <a:lnTo>
                    <a:pt x="746" y="1978"/>
                  </a:lnTo>
                  <a:lnTo>
                    <a:pt x="800" y="1966"/>
                  </a:lnTo>
                  <a:lnTo>
                    <a:pt x="854" y="1954"/>
                  </a:lnTo>
                  <a:lnTo>
                    <a:pt x="908" y="1940"/>
                  </a:lnTo>
                  <a:lnTo>
                    <a:pt x="962" y="1926"/>
                  </a:lnTo>
                  <a:lnTo>
                    <a:pt x="1014" y="1908"/>
                  </a:lnTo>
                  <a:lnTo>
                    <a:pt x="1066" y="1892"/>
                  </a:lnTo>
                  <a:lnTo>
                    <a:pt x="1118" y="1872"/>
                  </a:lnTo>
                  <a:lnTo>
                    <a:pt x="1168" y="1852"/>
                  </a:lnTo>
                  <a:lnTo>
                    <a:pt x="1218" y="1830"/>
                  </a:lnTo>
                  <a:lnTo>
                    <a:pt x="1268" y="1808"/>
                  </a:lnTo>
                  <a:lnTo>
                    <a:pt x="1316" y="1784"/>
                  </a:lnTo>
                  <a:lnTo>
                    <a:pt x="1364" y="1760"/>
                  </a:lnTo>
                  <a:lnTo>
                    <a:pt x="1412" y="1732"/>
                  </a:lnTo>
                  <a:lnTo>
                    <a:pt x="1458" y="1706"/>
                  </a:lnTo>
                  <a:lnTo>
                    <a:pt x="1504" y="1676"/>
                  </a:lnTo>
                  <a:lnTo>
                    <a:pt x="1548" y="1648"/>
                  </a:lnTo>
                  <a:lnTo>
                    <a:pt x="1592" y="1616"/>
                  </a:lnTo>
                  <a:lnTo>
                    <a:pt x="1636" y="1584"/>
                  </a:lnTo>
                  <a:lnTo>
                    <a:pt x="1678" y="1552"/>
                  </a:lnTo>
                  <a:lnTo>
                    <a:pt x="1720" y="1518"/>
                  </a:lnTo>
                  <a:lnTo>
                    <a:pt x="1762" y="1484"/>
                  </a:lnTo>
                  <a:lnTo>
                    <a:pt x="1802" y="1448"/>
                  </a:lnTo>
                  <a:lnTo>
                    <a:pt x="1840" y="1410"/>
                  </a:lnTo>
                  <a:lnTo>
                    <a:pt x="1878" y="1372"/>
                  </a:lnTo>
                  <a:lnTo>
                    <a:pt x="1916" y="1334"/>
                  </a:lnTo>
                  <a:lnTo>
                    <a:pt x="1146" y="0"/>
                  </a:lnTo>
                  <a:lnTo>
                    <a:pt x="0" y="1986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38" name="Google Shape;3740;p110">
              <a:extLst>
                <a:ext uri="{FF2B5EF4-FFF2-40B4-BE49-F238E27FC236}">
                  <a16:creationId xmlns:a16="http://schemas.microsoft.com/office/drawing/2014/main" id="{7D2CEF62-5EED-442B-808D-5D416FDD1DD2}"/>
                </a:ext>
              </a:extLst>
            </p:cNvPr>
            <p:cNvSpPr/>
            <p:nvPr/>
          </p:nvSpPr>
          <p:spPr>
            <a:xfrm>
              <a:off x="6502050" y="2033733"/>
              <a:ext cx="1832744" cy="2220439"/>
            </a:xfrm>
            <a:custGeom>
              <a:avLst/>
              <a:gdLst/>
              <a:ahLst/>
              <a:cxnLst/>
              <a:rect l="l" t="t" r="r" b="b"/>
              <a:pathLst>
                <a:path w="1664" h="2016" extrusionOk="0">
                  <a:moveTo>
                    <a:pt x="1300" y="1386"/>
                  </a:moveTo>
                  <a:lnTo>
                    <a:pt x="1302" y="1384"/>
                  </a:lnTo>
                  <a:lnTo>
                    <a:pt x="1300" y="1382"/>
                  </a:lnTo>
                  <a:lnTo>
                    <a:pt x="1298" y="1380"/>
                  </a:lnTo>
                  <a:lnTo>
                    <a:pt x="1298" y="1378"/>
                  </a:lnTo>
                  <a:lnTo>
                    <a:pt x="502" y="0"/>
                  </a:lnTo>
                  <a:lnTo>
                    <a:pt x="502" y="0"/>
                  </a:lnTo>
                  <a:lnTo>
                    <a:pt x="446" y="70"/>
                  </a:lnTo>
                  <a:lnTo>
                    <a:pt x="392" y="144"/>
                  </a:lnTo>
                  <a:lnTo>
                    <a:pt x="340" y="220"/>
                  </a:lnTo>
                  <a:lnTo>
                    <a:pt x="292" y="298"/>
                  </a:lnTo>
                  <a:lnTo>
                    <a:pt x="248" y="378"/>
                  </a:lnTo>
                  <a:lnTo>
                    <a:pt x="206" y="460"/>
                  </a:lnTo>
                  <a:lnTo>
                    <a:pt x="168" y="546"/>
                  </a:lnTo>
                  <a:lnTo>
                    <a:pt x="134" y="632"/>
                  </a:lnTo>
                  <a:lnTo>
                    <a:pt x="104" y="720"/>
                  </a:lnTo>
                  <a:lnTo>
                    <a:pt x="76" y="810"/>
                  </a:lnTo>
                  <a:lnTo>
                    <a:pt x="54" y="900"/>
                  </a:lnTo>
                  <a:lnTo>
                    <a:pt x="34" y="994"/>
                  </a:lnTo>
                  <a:lnTo>
                    <a:pt x="20" y="1088"/>
                  </a:lnTo>
                  <a:lnTo>
                    <a:pt x="10" y="1184"/>
                  </a:lnTo>
                  <a:lnTo>
                    <a:pt x="2" y="1280"/>
                  </a:lnTo>
                  <a:lnTo>
                    <a:pt x="0" y="1378"/>
                  </a:lnTo>
                  <a:lnTo>
                    <a:pt x="0" y="1378"/>
                  </a:lnTo>
                  <a:lnTo>
                    <a:pt x="2" y="1460"/>
                  </a:lnTo>
                  <a:lnTo>
                    <a:pt x="6" y="1542"/>
                  </a:lnTo>
                  <a:lnTo>
                    <a:pt x="14" y="1624"/>
                  </a:lnTo>
                  <a:lnTo>
                    <a:pt x="24" y="1704"/>
                  </a:lnTo>
                  <a:lnTo>
                    <a:pt x="38" y="1784"/>
                  </a:lnTo>
                  <a:lnTo>
                    <a:pt x="56" y="1862"/>
                  </a:lnTo>
                  <a:lnTo>
                    <a:pt x="74" y="1938"/>
                  </a:lnTo>
                  <a:lnTo>
                    <a:pt x="96" y="2016"/>
                  </a:lnTo>
                  <a:lnTo>
                    <a:pt x="1664" y="2016"/>
                  </a:lnTo>
                  <a:lnTo>
                    <a:pt x="1300" y="1386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39" name="Google Shape;3741;p110">
              <a:extLst>
                <a:ext uri="{FF2B5EF4-FFF2-40B4-BE49-F238E27FC236}">
                  <a16:creationId xmlns:a16="http://schemas.microsoft.com/office/drawing/2014/main" id="{AE73D7ED-A355-416C-8AA3-47D9F52EC0DD}"/>
                </a:ext>
              </a:extLst>
            </p:cNvPr>
            <p:cNvSpPr/>
            <p:nvPr/>
          </p:nvSpPr>
          <p:spPr>
            <a:xfrm>
              <a:off x="6647436" y="4368719"/>
              <a:ext cx="2572890" cy="1489104"/>
            </a:xfrm>
            <a:custGeom>
              <a:avLst/>
              <a:gdLst/>
              <a:ahLst/>
              <a:cxnLst/>
              <a:rect l="l" t="t" r="r" b="b"/>
              <a:pathLst>
                <a:path w="2336" h="1352" extrusionOk="0">
                  <a:moveTo>
                    <a:pt x="159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4" y="62"/>
                  </a:lnTo>
                  <a:lnTo>
                    <a:pt x="50" y="124"/>
                  </a:lnTo>
                  <a:lnTo>
                    <a:pt x="78" y="186"/>
                  </a:lnTo>
                  <a:lnTo>
                    <a:pt x="110" y="246"/>
                  </a:lnTo>
                  <a:lnTo>
                    <a:pt x="140" y="304"/>
                  </a:lnTo>
                  <a:lnTo>
                    <a:pt x="174" y="362"/>
                  </a:lnTo>
                  <a:lnTo>
                    <a:pt x="210" y="420"/>
                  </a:lnTo>
                  <a:lnTo>
                    <a:pt x="248" y="476"/>
                  </a:lnTo>
                  <a:lnTo>
                    <a:pt x="286" y="530"/>
                  </a:lnTo>
                  <a:lnTo>
                    <a:pt x="326" y="582"/>
                  </a:lnTo>
                  <a:lnTo>
                    <a:pt x="368" y="634"/>
                  </a:lnTo>
                  <a:lnTo>
                    <a:pt x="412" y="684"/>
                  </a:lnTo>
                  <a:lnTo>
                    <a:pt x="458" y="734"/>
                  </a:lnTo>
                  <a:lnTo>
                    <a:pt x="504" y="782"/>
                  </a:lnTo>
                  <a:lnTo>
                    <a:pt x="552" y="828"/>
                  </a:lnTo>
                  <a:lnTo>
                    <a:pt x="602" y="872"/>
                  </a:lnTo>
                  <a:lnTo>
                    <a:pt x="652" y="914"/>
                  </a:lnTo>
                  <a:lnTo>
                    <a:pt x="704" y="956"/>
                  </a:lnTo>
                  <a:lnTo>
                    <a:pt x="758" y="996"/>
                  </a:lnTo>
                  <a:lnTo>
                    <a:pt x="812" y="1034"/>
                  </a:lnTo>
                  <a:lnTo>
                    <a:pt x="868" y="1072"/>
                  </a:lnTo>
                  <a:lnTo>
                    <a:pt x="926" y="1106"/>
                  </a:lnTo>
                  <a:lnTo>
                    <a:pt x="984" y="1140"/>
                  </a:lnTo>
                  <a:lnTo>
                    <a:pt x="1044" y="1170"/>
                  </a:lnTo>
                  <a:lnTo>
                    <a:pt x="1104" y="1200"/>
                  </a:lnTo>
                  <a:lnTo>
                    <a:pt x="1166" y="1228"/>
                  </a:lnTo>
                  <a:lnTo>
                    <a:pt x="1228" y="1254"/>
                  </a:lnTo>
                  <a:lnTo>
                    <a:pt x="1292" y="1278"/>
                  </a:lnTo>
                  <a:lnTo>
                    <a:pt x="1356" y="1300"/>
                  </a:lnTo>
                  <a:lnTo>
                    <a:pt x="1420" y="1320"/>
                  </a:lnTo>
                  <a:lnTo>
                    <a:pt x="1488" y="1336"/>
                  </a:lnTo>
                  <a:lnTo>
                    <a:pt x="1554" y="1352"/>
                  </a:lnTo>
                  <a:lnTo>
                    <a:pt x="2336" y="0"/>
                  </a:lnTo>
                  <a:lnTo>
                    <a:pt x="1592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40" name="Google Shape;3742;p110">
              <a:extLst>
                <a:ext uri="{FF2B5EF4-FFF2-40B4-BE49-F238E27FC236}">
                  <a16:creationId xmlns:a16="http://schemas.microsoft.com/office/drawing/2014/main" id="{854038EB-2120-45CA-A4AF-9198B8AFC483}"/>
                </a:ext>
              </a:extLst>
            </p:cNvPr>
            <p:cNvSpPr/>
            <p:nvPr/>
          </p:nvSpPr>
          <p:spPr>
            <a:xfrm>
              <a:off x="8530845" y="1249531"/>
              <a:ext cx="2553065" cy="1493510"/>
            </a:xfrm>
            <a:custGeom>
              <a:avLst/>
              <a:gdLst/>
              <a:ahLst/>
              <a:cxnLst/>
              <a:rect l="l" t="t" r="r" b="b"/>
              <a:pathLst>
                <a:path w="2318" h="1356" extrusionOk="0">
                  <a:moveTo>
                    <a:pt x="2318" y="1356"/>
                  </a:moveTo>
                  <a:lnTo>
                    <a:pt x="2318" y="1356"/>
                  </a:lnTo>
                  <a:lnTo>
                    <a:pt x="2294" y="1294"/>
                  </a:lnTo>
                  <a:lnTo>
                    <a:pt x="2268" y="1232"/>
                  </a:lnTo>
                  <a:lnTo>
                    <a:pt x="2240" y="1172"/>
                  </a:lnTo>
                  <a:lnTo>
                    <a:pt x="2210" y="1112"/>
                  </a:lnTo>
                  <a:lnTo>
                    <a:pt x="2178" y="1052"/>
                  </a:lnTo>
                  <a:lnTo>
                    <a:pt x="2146" y="994"/>
                  </a:lnTo>
                  <a:lnTo>
                    <a:pt x="2110" y="938"/>
                  </a:lnTo>
                  <a:lnTo>
                    <a:pt x="2074" y="882"/>
                  </a:lnTo>
                  <a:lnTo>
                    <a:pt x="2036" y="828"/>
                  </a:lnTo>
                  <a:lnTo>
                    <a:pt x="1996" y="776"/>
                  </a:lnTo>
                  <a:lnTo>
                    <a:pt x="1954" y="724"/>
                  </a:lnTo>
                  <a:lnTo>
                    <a:pt x="1912" y="674"/>
                  </a:lnTo>
                  <a:lnTo>
                    <a:pt x="1866" y="624"/>
                  </a:lnTo>
                  <a:lnTo>
                    <a:pt x="1820" y="578"/>
                  </a:lnTo>
                  <a:lnTo>
                    <a:pt x="1774" y="532"/>
                  </a:lnTo>
                  <a:lnTo>
                    <a:pt x="1724" y="486"/>
                  </a:lnTo>
                  <a:lnTo>
                    <a:pt x="1674" y="444"/>
                  </a:lnTo>
                  <a:lnTo>
                    <a:pt x="1624" y="402"/>
                  </a:lnTo>
                  <a:lnTo>
                    <a:pt x="1570" y="362"/>
                  </a:lnTo>
                  <a:lnTo>
                    <a:pt x="1516" y="324"/>
                  </a:lnTo>
                  <a:lnTo>
                    <a:pt x="1462" y="286"/>
                  </a:lnTo>
                  <a:lnTo>
                    <a:pt x="1404" y="252"/>
                  </a:lnTo>
                  <a:lnTo>
                    <a:pt x="1348" y="218"/>
                  </a:lnTo>
                  <a:lnTo>
                    <a:pt x="1288" y="186"/>
                  </a:lnTo>
                  <a:lnTo>
                    <a:pt x="1228" y="156"/>
                  </a:lnTo>
                  <a:lnTo>
                    <a:pt x="1168" y="128"/>
                  </a:lnTo>
                  <a:lnTo>
                    <a:pt x="1106" y="102"/>
                  </a:lnTo>
                  <a:lnTo>
                    <a:pt x="1044" y="78"/>
                  </a:lnTo>
                  <a:lnTo>
                    <a:pt x="980" y="56"/>
                  </a:lnTo>
                  <a:lnTo>
                    <a:pt x="916" y="36"/>
                  </a:lnTo>
                  <a:lnTo>
                    <a:pt x="850" y="16"/>
                  </a:lnTo>
                  <a:lnTo>
                    <a:pt x="784" y="0"/>
                  </a:lnTo>
                  <a:lnTo>
                    <a:pt x="0" y="1356"/>
                  </a:lnTo>
                  <a:lnTo>
                    <a:pt x="2318" y="135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41" name="Google Shape;3743;p110">
              <a:extLst>
                <a:ext uri="{FF2B5EF4-FFF2-40B4-BE49-F238E27FC236}">
                  <a16:creationId xmlns:a16="http://schemas.microsoft.com/office/drawing/2014/main" id="{83C24C62-9B90-4810-85D1-0015F46A1DCC}"/>
                </a:ext>
              </a:extLst>
            </p:cNvPr>
            <p:cNvSpPr/>
            <p:nvPr/>
          </p:nvSpPr>
          <p:spPr>
            <a:xfrm>
              <a:off x="9394349" y="2857587"/>
              <a:ext cx="1830541" cy="2216034"/>
            </a:xfrm>
            <a:custGeom>
              <a:avLst/>
              <a:gdLst/>
              <a:ahLst/>
              <a:cxnLst/>
              <a:rect l="l" t="t" r="r" b="b"/>
              <a:pathLst>
                <a:path w="1662" h="2012" extrusionOk="0">
                  <a:moveTo>
                    <a:pt x="368" y="638"/>
                  </a:moveTo>
                  <a:lnTo>
                    <a:pt x="366" y="642"/>
                  </a:lnTo>
                  <a:lnTo>
                    <a:pt x="1156" y="2012"/>
                  </a:lnTo>
                  <a:lnTo>
                    <a:pt x="1156" y="2012"/>
                  </a:lnTo>
                  <a:lnTo>
                    <a:pt x="1214" y="1940"/>
                  </a:lnTo>
                  <a:lnTo>
                    <a:pt x="1268" y="1868"/>
                  </a:lnTo>
                  <a:lnTo>
                    <a:pt x="1320" y="1792"/>
                  </a:lnTo>
                  <a:lnTo>
                    <a:pt x="1368" y="1712"/>
                  </a:lnTo>
                  <a:lnTo>
                    <a:pt x="1414" y="1632"/>
                  </a:lnTo>
                  <a:lnTo>
                    <a:pt x="1454" y="1550"/>
                  </a:lnTo>
                  <a:lnTo>
                    <a:pt x="1492" y="1466"/>
                  </a:lnTo>
                  <a:lnTo>
                    <a:pt x="1528" y="1378"/>
                  </a:lnTo>
                  <a:lnTo>
                    <a:pt x="1558" y="1290"/>
                  </a:lnTo>
                  <a:lnTo>
                    <a:pt x="1584" y="1200"/>
                  </a:lnTo>
                  <a:lnTo>
                    <a:pt x="1608" y="1108"/>
                  </a:lnTo>
                  <a:lnTo>
                    <a:pt x="1628" y="1016"/>
                  </a:lnTo>
                  <a:lnTo>
                    <a:pt x="1642" y="922"/>
                  </a:lnTo>
                  <a:lnTo>
                    <a:pt x="1652" y="826"/>
                  </a:lnTo>
                  <a:lnTo>
                    <a:pt x="1660" y="728"/>
                  </a:lnTo>
                  <a:lnTo>
                    <a:pt x="1662" y="630"/>
                  </a:lnTo>
                  <a:lnTo>
                    <a:pt x="1662" y="630"/>
                  </a:lnTo>
                  <a:lnTo>
                    <a:pt x="1660" y="548"/>
                  </a:lnTo>
                  <a:lnTo>
                    <a:pt x="1656" y="468"/>
                  </a:lnTo>
                  <a:lnTo>
                    <a:pt x="1648" y="388"/>
                  </a:lnTo>
                  <a:lnTo>
                    <a:pt x="1638" y="308"/>
                  </a:lnTo>
                  <a:lnTo>
                    <a:pt x="1624" y="230"/>
                  </a:lnTo>
                  <a:lnTo>
                    <a:pt x="1608" y="152"/>
                  </a:lnTo>
                  <a:lnTo>
                    <a:pt x="1590" y="76"/>
                  </a:lnTo>
                  <a:lnTo>
                    <a:pt x="1568" y="0"/>
                  </a:lnTo>
                  <a:lnTo>
                    <a:pt x="0" y="0"/>
                  </a:lnTo>
                  <a:lnTo>
                    <a:pt x="368" y="638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42" name="Google Shape;3744;p110">
              <a:extLst>
                <a:ext uri="{FF2B5EF4-FFF2-40B4-BE49-F238E27FC236}">
                  <a16:creationId xmlns:a16="http://schemas.microsoft.com/office/drawing/2014/main" id="{130E299E-E00A-4466-8344-B7FB85581E64}"/>
                </a:ext>
              </a:extLst>
            </p:cNvPr>
            <p:cNvSpPr/>
            <p:nvPr/>
          </p:nvSpPr>
          <p:spPr>
            <a:xfrm>
              <a:off x="8652000" y="4432601"/>
              <a:ext cx="319408" cy="319408"/>
            </a:xfrm>
            <a:custGeom>
              <a:avLst/>
              <a:gdLst/>
              <a:ahLst/>
              <a:cxnLst/>
              <a:rect l="l" t="t" r="r" b="b"/>
              <a:pathLst>
                <a:path w="290" h="290" extrusionOk="0">
                  <a:moveTo>
                    <a:pt x="290" y="144"/>
                  </a:moveTo>
                  <a:lnTo>
                    <a:pt x="290" y="144"/>
                  </a:lnTo>
                  <a:lnTo>
                    <a:pt x="288" y="160"/>
                  </a:lnTo>
                  <a:lnTo>
                    <a:pt x="286" y="174"/>
                  </a:lnTo>
                  <a:lnTo>
                    <a:pt x="282" y="188"/>
                  </a:lnTo>
                  <a:lnTo>
                    <a:pt x="278" y="200"/>
                  </a:lnTo>
                  <a:lnTo>
                    <a:pt x="272" y="214"/>
                  </a:lnTo>
                  <a:lnTo>
                    <a:pt x="264" y="226"/>
                  </a:lnTo>
                  <a:lnTo>
                    <a:pt x="256" y="236"/>
                  </a:lnTo>
                  <a:lnTo>
                    <a:pt x="246" y="246"/>
                  </a:lnTo>
                  <a:lnTo>
                    <a:pt x="236" y="256"/>
                  </a:lnTo>
                  <a:lnTo>
                    <a:pt x="226" y="264"/>
                  </a:lnTo>
                  <a:lnTo>
                    <a:pt x="214" y="272"/>
                  </a:lnTo>
                  <a:lnTo>
                    <a:pt x="200" y="278"/>
                  </a:lnTo>
                  <a:lnTo>
                    <a:pt x="188" y="282"/>
                  </a:lnTo>
                  <a:lnTo>
                    <a:pt x="174" y="286"/>
                  </a:lnTo>
                  <a:lnTo>
                    <a:pt x="160" y="288"/>
                  </a:lnTo>
                  <a:lnTo>
                    <a:pt x="144" y="290"/>
                  </a:lnTo>
                  <a:lnTo>
                    <a:pt x="144" y="290"/>
                  </a:lnTo>
                  <a:lnTo>
                    <a:pt x="130" y="288"/>
                  </a:lnTo>
                  <a:lnTo>
                    <a:pt x="116" y="286"/>
                  </a:lnTo>
                  <a:lnTo>
                    <a:pt x="102" y="282"/>
                  </a:lnTo>
                  <a:lnTo>
                    <a:pt x="88" y="278"/>
                  </a:lnTo>
                  <a:lnTo>
                    <a:pt x="76" y="272"/>
                  </a:lnTo>
                  <a:lnTo>
                    <a:pt x="64" y="264"/>
                  </a:lnTo>
                  <a:lnTo>
                    <a:pt x="52" y="256"/>
                  </a:lnTo>
                  <a:lnTo>
                    <a:pt x="42" y="246"/>
                  </a:lnTo>
                  <a:lnTo>
                    <a:pt x="34" y="236"/>
                  </a:lnTo>
                  <a:lnTo>
                    <a:pt x="24" y="226"/>
                  </a:lnTo>
                  <a:lnTo>
                    <a:pt x="18" y="214"/>
                  </a:lnTo>
                  <a:lnTo>
                    <a:pt x="12" y="200"/>
                  </a:lnTo>
                  <a:lnTo>
                    <a:pt x="6" y="188"/>
                  </a:lnTo>
                  <a:lnTo>
                    <a:pt x="2" y="174"/>
                  </a:lnTo>
                  <a:lnTo>
                    <a:pt x="0" y="160"/>
                  </a:lnTo>
                  <a:lnTo>
                    <a:pt x="0" y="144"/>
                  </a:lnTo>
                  <a:lnTo>
                    <a:pt x="0" y="144"/>
                  </a:lnTo>
                  <a:lnTo>
                    <a:pt x="0" y="130"/>
                  </a:lnTo>
                  <a:lnTo>
                    <a:pt x="2" y="116"/>
                  </a:lnTo>
                  <a:lnTo>
                    <a:pt x="6" y="102"/>
                  </a:lnTo>
                  <a:lnTo>
                    <a:pt x="12" y="88"/>
                  </a:lnTo>
                  <a:lnTo>
                    <a:pt x="18" y="76"/>
                  </a:lnTo>
                  <a:lnTo>
                    <a:pt x="24" y="64"/>
                  </a:lnTo>
                  <a:lnTo>
                    <a:pt x="34" y="52"/>
                  </a:lnTo>
                  <a:lnTo>
                    <a:pt x="42" y="42"/>
                  </a:lnTo>
                  <a:lnTo>
                    <a:pt x="52" y="34"/>
                  </a:lnTo>
                  <a:lnTo>
                    <a:pt x="64" y="24"/>
                  </a:lnTo>
                  <a:lnTo>
                    <a:pt x="76" y="18"/>
                  </a:lnTo>
                  <a:lnTo>
                    <a:pt x="88" y="12"/>
                  </a:lnTo>
                  <a:lnTo>
                    <a:pt x="102" y="6"/>
                  </a:lnTo>
                  <a:lnTo>
                    <a:pt x="116" y="2"/>
                  </a:lnTo>
                  <a:lnTo>
                    <a:pt x="130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60" y="0"/>
                  </a:lnTo>
                  <a:lnTo>
                    <a:pt x="174" y="2"/>
                  </a:lnTo>
                  <a:lnTo>
                    <a:pt x="188" y="6"/>
                  </a:lnTo>
                  <a:lnTo>
                    <a:pt x="200" y="12"/>
                  </a:lnTo>
                  <a:lnTo>
                    <a:pt x="214" y="18"/>
                  </a:lnTo>
                  <a:lnTo>
                    <a:pt x="226" y="24"/>
                  </a:lnTo>
                  <a:lnTo>
                    <a:pt x="236" y="34"/>
                  </a:lnTo>
                  <a:lnTo>
                    <a:pt x="246" y="42"/>
                  </a:lnTo>
                  <a:lnTo>
                    <a:pt x="256" y="52"/>
                  </a:lnTo>
                  <a:lnTo>
                    <a:pt x="264" y="64"/>
                  </a:lnTo>
                  <a:lnTo>
                    <a:pt x="272" y="76"/>
                  </a:lnTo>
                  <a:lnTo>
                    <a:pt x="278" y="88"/>
                  </a:lnTo>
                  <a:lnTo>
                    <a:pt x="282" y="102"/>
                  </a:lnTo>
                  <a:lnTo>
                    <a:pt x="286" y="116"/>
                  </a:lnTo>
                  <a:lnTo>
                    <a:pt x="288" y="130"/>
                  </a:lnTo>
                  <a:lnTo>
                    <a:pt x="290" y="144"/>
                  </a:lnTo>
                  <a:lnTo>
                    <a:pt x="290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3" name="Google Shape;3745;p110">
              <a:extLst>
                <a:ext uri="{FF2B5EF4-FFF2-40B4-BE49-F238E27FC236}">
                  <a16:creationId xmlns:a16="http://schemas.microsoft.com/office/drawing/2014/main" id="{40FB7AB2-9917-432F-8977-764C52DB14B6}"/>
                </a:ext>
              </a:extLst>
            </p:cNvPr>
            <p:cNvSpPr/>
            <p:nvPr/>
          </p:nvSpPr>
          <p:spPr>
            <a:xfrm>
              <a:off x="9579385" y="3956793"/>
              <a:ext cx="319408" cy="319408"/>
            </a:xfrm>
            <a:custGeom>
              <a:avLst/>
              <a:gdLst/>
              <a:ahLst/>
              <a:cxnLst/>
              <a:rect l="l" t="t" r="r" b="b"/>
              <a:pathLst>
                <a:path w="290" h="290" extrusionOk="0">
                  <a:moveTo>
                    <a:pt x="216" y="20"/>
                  </a:moveTo>
                  <a:lnTo>
                    <a:pt x="216" y="20"/>
                  </a:lnTo>
                  <a:lnTo>
                    <a:pt x="230" y="28"/>
                  </a:lnTo>
                  <a:lnTo>
                    <a:pt x="240" y="38"/>
                  </a:lnTo>
                  <a:lnTo>
                    <a:pt x="250" y="48"/>
                  </a:lnTo>
                  <a:lnTo>
                    <a:pt x="260" y="58"/>
                  </a:lnTo>
                  <a:lnTo>
                    <a:pt x="268" y="70"/>
                  </a:lnTo>
                  <a:lnTo>
                    <a:pt x="274" y="82"/>
                  </a:lnTo>
                  <a:lnTo>
                    <a:pt x="280" y="94"/>
                  </a:lnTo>
                  <a:lnTo>
                    <a:pt x="284" y="108"/>
                  </a:lnTo>
                  <a:lnTo>
                    <a:pt x="288" y="122"/>
                  </a:lnTo>
                  <a:lnTo>
                    <a:pt x="288" y="136"/>
                  </a:lnTo>
                  <a:lnTo>
                    <a:pt x="290" y="150"/>
                  </a:lnTo>
                  <a:lnTo>
                    <a:pt x="288" y="164"/>
                  </a:lnTo>
                  <a:lnTo>
                    <a:pt x="286" y="178"/>
                  </a:lnTo>
                  <a:lnTo>
                    <a:pt x="282" y="190"/>
                  </a:lnTo>
                  <a:lnTo>
                    <a:pt x="276" y="204"/>
                  </a:lnTo>
                  <a:lnTo>
                    <a:pt x="270" y="218"/>
                  </a:lnTo>
                  <a:lnTo>
                    <a:pt x="270" y="218"/>
                  </a:lnTo>
                  <a:lnTo>
                    <a:pt x="262" y="230"/>
                  </a:lnTo>
                  <a:lnTo>
                    <a:pt x="252" y="242"/>
                  </a:lnTo>
                  <a:lnTo>
                    <a:pt x="242" y="252"/>
                  </a:lnTo>
                  <a:lnTo>
                    <a:pt x="232" y="260"/>
                  </a:lnTo>
                  <a:lnTo>
                    <a:pt x="220" y="268"/>
                  </a:lnTo>
                  <a:lnTo>
                    <a:pt x="208" y="276"/>
                  </a:lnTo>
                  <a:lnTo>
                    <a:pt x="196" y="280"/>
                  </a:lnTo>
                  <a:lnTo>
                    <a:pt x="182" y="286"/>
                  </a:lnTo>
                  <a:lnTo>
                    <a:pt x="168" y="288"/>
                  </a:lnTo>
                  <a:lnTo>
                    <a:pt x="154" y="290"/>
                  </a:lnTo>
                  <a:lnTo>
                    <a:pt x="140" y="290"/>
                  </a:lnTo>
                  <a:lnTo>
                    <a:pt x="126" y="288"/>
                  </a:lnTo>
                  <a:lnTo>
                    <a:pt x="112" y="286"/>
                  </a:lnTo>
                  <a:lnTo>
                    <a:pt x="98" y="282"/>
                  </a:lnTo>
                  <a:lnTo>
                    <a:pt x="86" y="278"/>
                  </a:lnTo>
                  <a:lnTo>
                    <a:pt x="72" y="270"/>
                  </a:lnTo>
                  <a:lnTo>
                    <a:pt x="72" y="270"/>
                  </a:lnTo>
                  <a:lnTo>
                    <a:pt x="60" y="262"/>
                  </a:lnTo>
                  <a:lnTo>
                    <a:pt x="48" y="254"/>
                  </a:lnTo>
                  <a:lnTo>
                    <a:pt x="38" y="244"/>
                  </a:lnTo>
                  <a:lnTo>
                    <a:pt x="30" y="232"/>
                  </a:lnTo>
                  <a:lnTo>
                    <a:pt x="22" y="222"/>
                  </a:lnTo>
                  <a:lnTo>
                    <a:pt x="14" y="208"/>
                  </a:lnTo>
                  <a:lnTo>
                    <a:pt x="8" y="196"/>
                  </a:lnTo>
                  <a:lnTo>
                    <a:pt x="4" y="182"/>
                  </a:lnTo>
                  <a:lnTo>
                    <a:pt x="2" y="170"/>
                  </a:lnTo>
                  <a:lnTo>
                    <a:pt x="0" y="156"/>
                  </a:lnTo>
                  <a:lnTo>
                    <a:pt x="0" y="142"/>
                  </a:lnTo>
                  <a:lnTo>
                    <a:pt x="0" y="128"/>
                  </a:lnTo>
                  <a:lnTo>
                    <a:pt x="4" y="114"/>
                  </a:lnTo>
                  <a:lnTo>
                    <a:pt x="8" y="100"/>
                  </a:lnTo>
                  <a:lnTo>
                    <a:pt x="12" y="8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8" y="60"/>
                  </a:lnTo>
                  <a:lnTo>
                    <a:pt x="36" y="50"/>
                  </a:lnTo>
                  <a:lnTo>
                    <a:pt x="46" y="38"/>
                  </a:lnTo>
                  <a:lnTo>
                    <a:pt x="58" y="30"/>
                  </a:lnTo>
                  <a:lnTo>
                    <a:pt x="68" y="22"/>
                  </a:lnTo>
                  <a:lnTo>
                    <a:pt x="80" y="16"/>
                  </a:lnTo>
                  <a:lnTo>
                    <a:pt x="94" y="10"/>
                  </a:lnTo>
                  <a:lnTo>
                    <a:pt x="106" y="6"/>
                  </a:lnTo>
                  <a:lnTo>
                    <a:pt x="120" y="2"/>
                  </a:lnTo>
                  <a:lnTo>
                    <a:pt x="134" y="0"/>
                  </a:lnTo>
                  <a:lnTo>
                    <a:pt x="148" y="0"/>
                  </a:lnTo>
                  <a:lnTo>
                    <a:pt x="162" y="2"/>
                  </a:lnTo>
                  <a:lnTo>
                    <a:pt x="176" y="4"/>
                  </a:lnTo>
                  <a:lnTo>
                    <a:pt x="190" y="8"/>
                  </a:lnTo>
                  <a:lnTo>
                    <a:pt x="204" y="14"/>
                  </a:lnTo>
                  <a:lnTo>
                    <a:pt x="216" y="20"/>
                  </a:lnTo>
                  <a:lnTo>
                    <a:pt x="216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" name="Google Shape;3746;p110">
              <a:extLst>
                <a:ext uri="{FF2B5EF4-FFF2-40B4-BE49-F238E27FC236}">
                  <a16:creationId xmlns:a16="http://schemas.microsoft.com/office/drawing/2014/main" id="{FEC6573B-601E-41A4-8C5E-1F6F5F49985C}"/>
                </a:ext>
              </a:extLst>
            </p:cNvPr>
            <p:cNvSpPr/>
            <p:nvPr/>
          </p:nvSpPr>
          <p:spPr>
            <a:xfrm>
              <a:off x="9632253" y="2917063"/>
              <a:ext cx="317206" cy="319408"/>
            </a:xfrm>
            <a:custGeom>
              <a:avLst/>
              <a:gdLst/>
              <a:ahLst/>
              <a:cxnLst/>
              <a:rect l="l" t="t" r="r" b="b"/>
              <a:pathLst>
                <a:path w="288" h="290" extrusionOk="0">
                  <a:moveTo>
                    <a:pt x="72" y="20"/>
                  </a:moveTo>
                  <a:lnTo>
                    <a:pt x="72" y="20"/>
                  </a:lnTo>
                  <a:lnTo>
                    <a:pt x="84" y="12"/>
                  </a:lnTo>
                  <a:lnTo>
                    <a:pt x="98" y="8"/>
                  </a:lnTo>
                  <a:lnTo>
                    <a:pt x="112" y="4"/>
                  </a:lnTo>
                  <a:lnTo>
                    <a:pt x="126" y="2"/>
                  </a:lnTo>
                  <a:lnTo>
                    <a:pt x="140" y="0"/>
                  </a:lnTo>
                  <a:lnTo>
                    <a:pt x="154" y="0"/>
                  </a:lnTo>
                  <a:lnTo>
                    <a:pt x="168" y="2"/>
                  </a:lnTo>
                  <a:lnTo>
                    <a:pt x="182" y="4"/>
                  </a:lnTo>
                  <a:lnTo>
                    <a:pt x="194" y="10"/>
                  </a:lnTo>
                  <a:lnTo>
                    <a:pt x="208" y="14"/>
                  </a:lnTo>
                  <a:lnTo>
                    <a:pt x="220" y="22"/>
                  </a:lnTo>
                  <a:lnTo>
                    <a:pt x="232" y="30"/>
                  </a:lnTo>
                  <a:lnTo>
                    <a:pt x="242" y="38"/>
                  </a:lnTo>
                  <a:lnTo>
                    <a:pt x="252" y="48"/>
                  </a:lnTo>
                  <a:lnTo>
                    <a:pt x="262" y="60"/>
                  </a:lnTo>
                  <a:lnTo>
                    <a:pt x="270" y="72"/>
                  </a:lnTo>
                  <a:lnTo>
                    <a:pt x="270" y="72"/>
                  </a:lnTo>
                  <a:lnTo>
                    <a:pt x="276" y="86"/>
                  </a:lnTo>
                  <a:lnTo>
                    <a:pt x="282" y="100"/>
                  </a:lnTo>
                  <a:lnTo>
                    <a:pt x="284" y="112"/>
                  </a:lnTo>
                  <a:lnTo>
                    <a:pt x="288" y="126"/>
                  </a:lnTo>
                  <a:lnTo>
                    <a:pt x="288" y="140"/>
                  </a:lnTo>
                  <a:lnTo>
                    <a:pt x="288" y="154"/>
                  </a:lnTo>
                  <a:lnTo>
                    <a:pt x="286" y="168"/>
                  </a:lnTo>
                  <a:lnTo>
                    <a:pt x="284" y="182"/>
                  </a:lnTo>
                  <a:lnTo>
                    <a:pt x="280" y="196"/>
                  </a:lnTo>
                  <a:lnTo>
                    <a:pt x="274" y="208"/>
                  </a:lnTo>
                  <a:lnTo>
                    <a:pt x="268" y="220"/>
                  </a:lnTo>
                  <a:lnTo>
                    <a:pt x="260" y="232"/>
                  </a:lnTo>
                  <a:lnTo>
                    <a:pt x="250" y="242"/>
                  </a:lnTo>
                  <a:lnTo>
                    <a:pt x="240" y="252"/>
                  </a:lnTo>
                  <a:lnTo>
                    <a:pt x="228" y="262"/>
                  </a:lnTo>
                  <a:lnTo>
                    <a:pt x="216" y="270"/>
                  </a:lnTo>
                  <a:lnTo>
                    <a:pt x="216" y="270"/>
                  </a:lnTo>
                  <a:lnTo>
                    <a:pt x="202" y="276"/>
                  </a:lnTo>
                  <a:lnTo>
                    <a:pt x="190" y="282"/>
                  </a:lnTo>
                  <a:lnTo>
                    <a:pt x="176" y="286"/>
                  </a:lnTo>
                  <a:lnTo>
                    <a:pt x="162" y="288"/>
                  </a:lnTo>
                  <a:lnTo>
                    <a:pt x="148" y="290"/>
                  </a:lnTo>
                  <a:lnTo>
                    <a:pt x="134" y="288"/>
                  </a:lnTo>
                  <a:lnTo>
                    <a:pt x="120" y="288"/>
                  </a:lnTo>
                  <a:lnTo>
                    <a:pt x="106" y="284"/>
                  </a:lnTo>
                  <a:lnTo>
                    <a:pt x="94" y="280"/>
                  </a:lnTo>
                  <a:lnTo>
                    <a:pt x="80" y="274"/>
                  </a:lnTo>
                  <a:lnTo>
                    <a:pt x="68" y="268"/>
                  </a:lnTo>
                  <a:lnTo>
                    <a:pt x="56" y="260"/>
                  </a:lnTo>
                  <a:lnTo>
                    <a:pt x="46" y="250"/>
                  </a:lnTo>
                  <a:lnTo>
                    <a:pt x="36" y="240"/>
                  </a:lnTo>
                  <a:lnTo>
                    <a:pt x="26" y="230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2" y="204"/>
                  </a:lnTo>
                  <a:lnTo>
                    <a:pt x="6" y="190"/>
                  </a:lnTo>
                  <a:lnTo>
                    <a:pt x="2" y="176"/>
                  </a:lnTo>
                  <a:lnTo>
                    <a:pt x="0" y="162"/>
                  </a:lnTo>
                  <a:lnTo>
                    <a:pt x="0" y="148"/>
                  </a:lnTo>
                  <a:lnTo>
                    <a:pt x="0" y="134"/>
                  </a:lnTo>
                  <a:lnTo>
                    <a:pt x="2" y="120"/>
                  </a:lnTo>
                  <a:lnTo>
                    <a:pt x="4" y="108"/>
                  </a:lnTo>
                  <a:lnTo>
                    <a:pt x="8" y="94"/>
                  </a:lnTo>
                  <a:lnTo>
                    <a:pt x="14" y="82"/>
                  </a:lnTo>
                  <a:lnTo>
                    <a:pt x="20" y="68"/>
                  </a:lnTo>
                  <a:lnTo>
                    <a:pt x="28" y="58"/>
                  </a:lnTo>
                  <a:lnTo>
                    <a:pt x="38" y="46"/>
                  </a:lnTo>
                  <a:lnTo>
                    <a:pt x="48" y="36"/>
                  </a:lnTo>
                  <a:lnTo>
                    <a:pt x="60" y="28"/>
                  </a:lnTo>
                  <a:lnTo>
                    <a:pt x="72" y="20"/>
                  </a:lnTo>
                  <a:lnTo>
                    <a:pt x="72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5" name="Google Shape;3747;p110">
              <a:extLst>
                <a:ext uri="{FF2B5EF4-FFF2-40B4-BE49-F238E27FC236}">
                  <a16:creationId xmlns:a16="http://schemas.microsoft.com/office/drawing/2014/main" id="{7E5BC2C6-FA37-4536-8EBD-0712367357CE}"/>
                </a:ext>
              </a:extLst>
            </p:cNvPr>
            <p:cNvSpPr/>
            <p:nvPr/>
          </p:nvSpPr>
          <p:spPr>
            <a:xfrm>
              <a:off x="8755532" y="2350939"/>
              <a:ext cx="319408" cy="319408"/>
            </a:xfrm>
            <a:custGeom>
              <a:avLst/>
              <a:gdLst/>
              <a:ahLst/>
              <a:cxnLst/>
              <a:rect l="l" t="t" r="r" b="b"/>
              <a:pathLst>
                <a:path w="290" h="290" extrusionOk="0">
                  <a:moveTo>
                    <a:pt x="0" y="146"/>
                  </a:moveTo>
                  <a:lnTo>
                    <a:pt x="0" y="146"/>
                  </a:lnTo>
                  <a:lnTo>
                    <a:pt x="2" y="130"/>
                  </a:lnTo>
                  <a:lnTo>
                    <a:pt x="4" y="116"/>
                  </a:lnTo>
                  <a:lnTo>
                    <a:pt x="8" y="102"/>
                  </a:lnTo>
                  <a:lnTo>
                    <a:pt x="12" y="90"/>
                  </a:lnTo>
                  <a:lnTo>
                    <a:pt x="18" y="76"/>
                  </a:lnTo>
                  <a:lnTo>
                    <a:pt x="26" y="64"/>
                  </a:lnTo>
                  <a:lnTo>
                    <a:pt x="34" y="54"/>
                  </a:lnTo>
                  <a:lnTo>
                    <a:pt x="44" y="44"/>
                  </a:lnTo>
                  <a:lnTo>
                    <a:pt x="54" y="34"/>
                  </a:lnTo>
                  <a:lnTo>
                    <a:pt x="64" y="26"/>
                  </a:lnTo>
                  <a:lnTo>
                    <a:pt x="76" y="18"/>
                  </a:lnTo>
                  <a:lnTo>
                    <a:pt x="90" y="12"/>
                  </a:lnTo>
                  <a:lnTo>
                    <a:pt x="102" y="8"/>
                  </a:lnTo>
                  <a:lnTo>
                    <a:pt x="116" y="4"/>
                  </a:lnTo>
                  <a:lnTo>
                    <a:pt x="130" y="2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60" y="2"/>
                  </a:lnTo>
                  <a:lnTo>
                    <a:pt x="174" y="4"/>
                  </a:lnTo>
                  <a:lnTo>
                    <a:pt x="188" y="8"/>
                  </a:lnTo>
                  <a:lnTo>
                    <a:pt x="202" y="12"/>
                  </a:lnTo>
                  <a:lnTo>
                    <a:pt x="214" y="18"/>
                  </a:lnTo>
                  <a:lnTo>
                    <a:pt x="226" y="26"/>
                  </a:lnTo>
                  <a:lnTo>
                    <a:pt x="238" y="34"/>
                  </a:lnTo>
                  <a:lnTo>
                    <a:pt x="248" y="44"/>
                  </a:lnTo>
                  <a:lnTo>
                    <a:pt x="256" y="54"/>
                  </a:lnTo>
                  <a:lnTo>
                    <a:pt x="266" y="64"/>
                  </a:lnTo>
                  <a:lnTo>
                    <a:pt x="272" y="76"/>
                  </a:lnTo>
                  <a:lnTo>
                    <a:pt x="278" y="90"/>
                  </a:lnTo>
                  <a:lnTo>
                    <a:pt x="284" y="102"/>
                  </a:lnTo>
                  <a:lnTo>
                    <a:pt x="288" y="116"/>
                  </a:lnTo>
                  <a:lnTo>
                    <a:pt x="290" y="130"/>
                  </a:lnTo>
                  <a:lnTo>
                    <a:pt x="290" y="146"/>
                  </a:lnTo>
                  <a:lnTo>
                    <a:pt x="290" y="146"/>
                  </a:lnTo>
                  <a:lnTo>
                    <a:pt x="290" y="160"/>
                  </a:lnTo>
                  <a:lnTo>
                    <a:pt x="288" y="174"/>
                  </a:lnTo>
                  <a:lnTo>
                    <a:pt x="284" y="188"/>
                  </a:lnTo>
                  <a:lnTo>
                    <a:pt x="278" y="202"/>
                  </a:lnTo>
                  <a:lnTo>
                    <a:pt x="272" y="214"/>
                  </a:lnTo>
                  <a:lnTo>
                    <a:pt x="266" y="226"/>
                  </a:lnTo>
                  <a:lnTo>
                    <a:pt x="256" y="238"/>
                  </a:lnTo>
                  <a:lnTo>
                    <a:pt x="248" y="248"/>
                  </a:lnTo>
                  <a:lnTo>
                    <a:pt x="238" y="256"/>
                  </a:lnTo>
                  <a:lnTo>
                    <a:pt x="226" y="266"/>
                  </a:lnTo>
                  <a:lnTo>
                    <a:pt x="214" y="272"/>
                  </a:lnTo>
                  <a:lnTo>
                    <a:pt x="202" y="278"/>
                  </a:lnTo>
                  <a:lnTo>
                    <a:pt x="188" y="284"/>
                  </a:lnTo>
                  <a:lnTo>
                    <a:pt x="174" y="288"/>
                  </a:lnTo>
                  <a:lnTo>
                    <a:pt x="160" y="290"/>
                  </a:lnTo>
                  <a:lnTo>
                    <a:pt x="146" y="290"/>
                  </a:lnTo>
                  <a:lnTo>
                    <a:pt x="146" y="290"/>
                  </a:lnTo>
                  <a:lnTo>
                    <a:pt x="130" y="290"/>
                  </a:lnTo>
                  <a:lnTo>
                    <a:pt x="116" y="288"/>
                  </a:lnTo>
                  <a:lnTo>
                    <a:pt x="102" y="284"/>
                  </a:lnTo>
                  <a:lnTo>
                    <a:pt x="90" y="278"/>
                  </a:lnTo>
                  <a:lnTo>
                    <a:pt x="76" y="272"/>
                  </a:lnTo>
                  <a:lnTo>
                    <a:pt x="64" y="266"/>
                  </a:lnTo>
                  <a:lnTo>
                    <a:pt x="54" y="256"/>
                  </a:lnTo>
                  <a:lnTo>
                    <a:pt x="44" y="248"/>
                  </a:lnTo>
                  <a:lnTo>
                    <a:pt x="34" y="238"/>
                  </a:lnTo>
                  <a:lnTo>
                    <a:pt x="26" y="226"/>
                  </a:lnTo>
                  <a:lnTo>
                    <a:pt x="18" y="214"/>
                  </a:lnTo>
                  <a:lnTo>
                    <a:pt x="12" y="202"/>
                  </a:lnTo>
                  <a:lnTo>
                    <a:pt x="8" y="188"/>
                  </a:lnTo>
                  <a:lnTo>
                    <a:pt x="4" y="174"/>
                  </a:lnTo>
                  <a:lnTo>
                    <a:pt x="2" y="160"/>
                  </a:lnTo>
                  <a:lnTo>
                    <a:pt x="0" y="146"/>
                  </a:lnTo>
                  <a:lnTo>
                    <a:pt x="0" y="1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6" name="Google Shape;3748;p110">
              <a:extLst>
                <a:ext uri="{FF2B5EF4-FFF2-40B4-BE49-F238E27FC236}">
                  <a16:creationId xmlns:a16="http://schemas.microsoft.com/office/drawing/2014/main" id="{A0B3F20F-9C19-4199-94BA-083BD5784BD5}"/>
                </a:ext>
              </a:extLst>
            </p:cNvPr>
            <p:cNvSpPr/>
            <p:nvPr/>
          </p:nvSpPr>
          <p:spPr>
            <a:xfrm>
              <a:off x="7828146" y="2826747"/>
              <a:ext cx="319408" cy="319408"/>
            </a:xfrm>
            <a:custGeom>
              <a:avLst/>
              <a:gdLst/>
              <a:ahLst/>
              <a:cxnLst/>
              <a:rect l="l" t="t" r="r" b="b"/>
              <a:pathLst>
                <a:path w="290" h="290" extrusionOk="0">
                  <a:moveTo>
                    <a:pt x="74" y="270"/>
                  </a:moveTo>
                  <a:lnTo>
                    <a:pt x="74" y="270"/>
                  </a:lnTo>
                  <a:lnTo>
                    <a:pt x="60" y="262"/>
                  </a:lnTo>
                  <a:lnTo>
                    <a:pt x="50" y="252"/>
                  </a:lnTo>
                  <a:lnTo>
                    <a:pt x="40" y="242"/>
                  </a:lnTo>
                  <a:lnTo>
                    <a:pt x="30" y="232"/>
                  </a:lnTo>
                  <a:lnTo>
                    <a:pt x="22" y="220"/>
                  </a:lnTo>
                  <a:lnTo>
                    <a:pt x="16" y="208"/>
                  </a:lnTo>
                  <a:lnTo>
                    <a:pt x="10" y="196"/>
                  </a:lnTo>
                  <a:lnTo>
                    <a:pt x="6" y="182"/>
                  </a:lnTo>
                  <a:lnTo>
                    <a:pt x="2" y="168"/>
                  </a:lnTo>
                  <a:lnTo>
                    <a:pt x="2" y="154"/>
                  </a:lnTo>
                  <a:lnTo>
                    <a:pt x="0" y="140"/>
                  </a:lnTo>
                  <a:lnTo>
                    <a:pt x="2" y="126"/>
                  </a:lnTo>
                  <a:lnTo>
                    <a:pt x="4" y="112"/>
                  </a:lnTo>
                  <a:lnTo>
                    <a:pt x="8" y="100"/>
                  </a:lnTo>
                  <a:lnTo>
                    <a:pt x="14" y="8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8" y="60"/>
                  </a:lnTo>
                  <a:lnTo>
                    <a:pt x="38" y="48"/>
                  </a:lnTo>
                  <a:lnTo>
                    <a:pt x="48" y="38"/>
                  </a:lnTo>
                  <a:lnTo>
                    <a:pt x="58" y="30"/>
                  </a:lnTo>
                  <a:lnTo>
                    <a:pt x="70" y="22"/>
                  </a:lnTo>
                  <a:lnTo>
                    <a:pt x="82" y="14"/>
                  </a:lnTo>
                  <a:lnTo>
                    <a:pt x="94" y="10"/>
                  </a:lnTo>
                  <a:lnTo>
                    <a:pt x="108" y="4"/>
                  </a:lnTo>
                  <a:lnTo>
                    <a:pt x="122" y="2"/>
                  </a:lnTo>
                  <a:lnTo>
                    <a:pt x="136" y="0"/>
                  </a:lnTo>
                  <a:lnTo>
                    <a:pt x="150" y="0"/>
                  </a:lnTo>
                  <a:lnTo>
                    <a:pt x="164" y="2"/>
                  </a:lnTo>
                  <a:lnTo>
                    <a:pt x="178" y="4"/>
                  </a:lnTo>
                  <a:lnTo>
                    <a:pt x="192" y="8"/>
                  </a:lnTo>
                  <a:lnTo>
                    <a:pt x="204" y="12"/>
                  </a:lnTo>
                  <a:lnTo>
                    <a:pt x="218" y="20"/>
                  </a:lnTo>
                  <a:lnTo>
                    <a:pt x="218" y="20"/>
                  </a:lnTo>
                  <a:lnTo>
                    <a:pt x="230" y="28"/>
                  </a:lnTo>
                  <a:lnTo>
                    <a:pt x="242" y="36"/>
                  </a:lnTo>
                  <a:lnTo>
                    <a:pt x="252" y="46"/>
                  </a:lnTo>
                  <a:lnTo>
                    <a:pt x="260" y="58"/>
                  </a:lnTo>
                  <a:lnTo>
                    <a:pt x="268" y="68"/>
                  </a:lnTo>
                  <a:lnTo>
                    <a:pt x="276" y="82"/>
                  </a:lnTo>
                  <a:lnTo>
                    <a:pt x="282" y="94"/>
                  </a:lnTo>
                  <a:lnTo>
                    <a:pt x="286" y="108"/>
                  </a:lnTo>
                  <a:lnTo>
                    <a:pt x="288" y="120"/>
                  </a:lnTo>
                  <a:lnTo>
                    <a:pt x="290" y="134"/>
                  </a:lnTo>
                  <a:lnTo>
                    <a:pt x="290" y="148"/>
                  </a:lnTo>
                  <a:lnTo>
                    <a:pt x="290" y="162"/>
                  </a:lnTo>
                  <a:lnTo>
                    <a:pt x="286" y="176"/>
                  </a:lnTo>
                  <a:lnTo>
                    <a:pt x="282" y="190"/>
                  </a:lnTo>
                  <a:lnTo>
                    <a:pt x="278" y="204"/>
                  </a:lnTo>
                  <a:lnTo>
                    <a:pt x="270" y="218"/>
                  </a:lnTo>
                  <a:lnTo>
                    <a:pt x="270" y="218"/>
                  </a:lnTo>
                  <a:lnTo>
                    <a:pt x="262" y="230"/>
                  </a:lnTo>
                  <a:lnTo>
                    <a:pt x="254" y="240"/>
                  </a:lnTo>
                  <a:lnTo>
                    <a:pt x="244" y="252"/>
                  </a:lnTo>
                  <a:lnTo>
                    <a:pt x="232" y="260"/>
                  </a:lnTo>
                  <a:lnTo>
                    <a:pt x="222" y="268"/>
                  </a:lnTo>
                  <a:lnTo>
                    <a:pt x="210" y="274"/>
                  </a:lnTo>
                  <a:lnTo>
                    <a:pt x="196" y="280"/>
                  </a:lnTo>
                  <a:lnTo>
                    <a:pt x="184" y="284"/>
                  </a:lnTo>
                  <a:lnTo>
                    <a:pt x="170" y="288"/>
                  </a:lnTo>
                  <a:lnTo>
                    <a:pt x="156" y="290"/>
                  </a:lnTo>
                  <a:lnTo>
                    <a:pt x="142" y="290"/>
                  </a:lnTo>
                  <a:lnTo>
                    <a:pt x="128" y="288"/>
                  </a:lnTo>
                  <a:lnTo>
                    <a:pt x="114" y="286"/>
                  </a:lnTo>
                  <a:lnTo>
                    <a:pt x="100" y="282"/>
                  </a:lnTo>
                  <a:lnTo>
                    <a:pt x="86" y="276"/>
                  </a:lnTo>
                  <a:lnTo>
                    <a:pt x="74" y="270"/>
                  </a:lnTo>
                  <a:lnTo>
                    <a:pt x="74" y="2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7" name="Google Shape;3749;p110">
              <a:extLst>
                <a:ext uri="{FF2B5EF4-FFF2-40B4-BE49-F238E27FC236}">
                  <a16:creationId xmlns:a16="http://schemas.microsoft.com/office/drawing/2014/main" id="{03646DD4-4D15-4C61-BE3B-8473C89D5FC2}"/>
                </a:ext>
              </a:extLst>
            </p:cNvPr>
            <p:cNvSpPr/>
            <p:nvPr/>
          </p:nvSpPr>
          <p:spPr>
            <a:xfrm>
              <a:off x="7777481" y="3866477"/>
              <a:ext cx="317206" cy="319408"/>
            </a:xfrm>
            <a:custGeom>
              <a:avLst/>
              <a:gdLst/>
              <a:ahLst/>
              <a:cxnLst/>
              <a:rect l="l" t="t" r="r" b="b"/>
              <a:pathLst>
                <a:path w="288" h="290" extrusionOk="0">
                  <a:moveTo>
                    <a:pt x="216" y="270"/>
                  </a:moveTo>
                  <a:lnTo>
                    <a:pt x="216" y="270"/>
                  </a:lnTo>
                  <a:lnTo>
                    <a:pt x="204" y="278"/>
                  </a:lnTo>
                  <a:lnTo>
                    <a:pt x="190" y="282"/>
                  </a:lnTo>
                  <a:lnTo>
                    <a:pt x="176" y="286"/>
                  </a:lnTo>
                  <a:lnTo>
                    <a:pt x="162" y="288"/>
                  </a:lnTo>
                  <a:lnTo>
                    <a:pt x="148" y="290"/>
                  </a:lnTo>
                  <a:lnTo>
                    <a:pt x="134" y="290"/>
                  </a:lnTo>
                  <a:lnTo>
                    <a:pt x="120" y="288"/>
                  </a:lnTo>
                  <a:lnTo>
                    <a:pt x="106" y="286"/>
                  </a:lnTo>
                  <a:lnTo>
                    <a:pt x="94" y="280"/>
                  </a:lnTo>
                  <a:lnTo>
                    <a:pt x="80" y="276"/>
                  </a:lnTo>
                  <a:lnTo>
                    <a:pt x="68" y="268"/>
                  </a:lnTo>
                  <a:lnTo>
                    <a:pt x="56" y="260"/>
                  </a:lnTo>
                  <a:lnTo>
                    <a:pt x="46" y="252"/>
                  </a:lnTo>
                  <a:lnTo>
                    <a:pt x="36" y="242"/>
                  </a:lnTo>
                  <a:lnTo>
                    <a:pt x="26" y="230"/>
                  </a:lnTo>
                  <a:lnTo>
                    <a:pt x="18" y="218"/>
                  </a:lnTo>
                  <a:lnTo>
                    <a:pt x="18" y="218"/>
                  </a:lnTo>
                  <a:lnTo>
                    <a:pt x="12" y="204"/>
                  </a:lnTo>
                  <a:lnTo>
                    <a:pt x="6" y="190"/>
                  </a:lnTo>
                  <a:lnTo>
                    <a:pt x="4" y="178"/>
                  </a:lnTo>
                  <a:lnTo>
                    <a:pt x="0" y="164"/>
                  </a:lnTo>
                  <a:lnTo>
                    <a:pt x="0" y="150"/>
                  </a:lnTo>
                  <a:lnTo>
                    <a:pt x="0" y="136"/>
                  </a:lnTo>
                  <a:lnTo>
                    <a:pt x="2" y="122"/>
                  </a:lnTo>
                  <a:lnTo>
                    <a:pt x="4" y="108"/>
                  </a:lnTo>
                  <a:lnTo>
                    <a:pt x="8" y="94"/>
                  </a:lnTo>
                  <a:lnTo>
                    <a:pt x="14" y="82"/>
                  </a:lnTo>
                  <a:lnTo>
                    <a:pt x="20" y="70"/>
                  </a:lnTo>
                  <a:lnTo>
                    <a:pt x="28" y="58"/>
                  </a:lnTo>
                  <a:lnTo>
                    <a:pt x="38" y="48"/>
                  </a:lnTo>
                  <a:lnTo>
                    <a:pt x="48" y="38"/>
                  </a:lnTo>
                  <a:lnTo>
                    <a:pt x="60" y="28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86" y="14"/>
                  </a:lnTo>
                  <a:lnTo>
                    <a:pt x="98" y="8"/>
                  </a:lnTo>
                  <a:lnTo>
                    <a:pt x="112" y="4"/>
                  </a:lnTo>
                  <a:lnTo>
                    <a:pt x="126" y="2"/>
                  </a:lnTo>
                  <a:lnTo>
                    <a:pt x="140" y="0"/>
                  </a:lnTo>
                  <a:lnTo>
                    <a:pt x="154" y="2"/>
                  </a:lnTo>
                  <a:lnTo>
                    <a:pt x="168" y="2"/>
                  </a:lnTo>
                  <a:lnTo>
                    <a:pt x="182" y="6"/>
                  </a:lnTo>
                  <a:lnTo>
                    <a:pt x="194" y="10"/>
                  </a:lnTo>
                  <a:lnTo>
                    <a:pt x="208" y="16"/>
                  </a:lnTo>
                  <a:lnTo>
                    <a:pt x="220" y="22"/>
                  </a:lnTo>
                  <a:lnTo>
                    <a:pt x="232" y="30"/>
                  </a:lnTo>
                  <a:lnTo>
                    <a:pt x="242" y="40"/>
                  </a:lnTo>
                  <a:lnTo>
                    <a:pt x="252" y="50"/>
                  </a:lnTo>
                  <a:lnTo>
                    <a:pt x="262" y="60"/>
                  </a:lnTo>
                  <a:lnTo>
                    <a:pt x="270" y="74"/>
                  </a:lnTo>
                  <a:lnTo>
                    <a:pt x="270" y="74"/>
                  </a:lnTo>
                  <a:lnTo>
                    <a:pt x="276" y="86"/>
                  </a:lnTo>
                  <a:lnTo>
                    <a:pt x="282" y="100"/>
                  </a:lnTo>
                  <a:lnTo>
                    <a:pt x="286" y="114"/>
                  </a:lnTo>
                  <a:lnTo>
                    <a:pt x="288" y="128"/>
                  </a:lnTo>
                  <a:lnTo>
                    <a:pt x="288" y="142"/>
                  </a:lnTo>
                  <a:lnTo>
                    <a:pt x="288" y="156"/>
                  </a:lnTo>
                  <a:lnTo>
                    <a:pt x="286" y="170"/>
                  </a:lnTo>
                  <a:lnTo>
                    <a:pt x="284" y="182"/>
                  </a:lnTo>
                  <a:lnTo>
                    <a:pt x="280" y="196"/>
                  </a:lnTo>
                  <a:lnTo>
                    <a:pt x="274" y="208"/>
                  </a:lnTo>
                  <a:lnTo>
                    <a:pt x="268" y="222"/>
                  </a:lnTo>
                  <a:lnTo>
                    <a:pt x="260" y="232"/>
                  </a:lnTo>
                  <a:lnTo>
                    <a:pt x="250" y="244"/>
                  </a:lnTo>
                  <a:lnTo>
                    <a:pt x="240" y="254"/>
                  </a:lnTo>
                  <a:lnTo>
                    <a:pt x="230" y="262"/>
                  </a:lnTo>
                  <a:lnTo>
                    <a:pt x="216" y="270"/>
                  </a:lnTo>
                  <a:lnTo>
                    <a:pt x="216" y="2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8" name="Google Shape;3750;p110">
              <a:extLst>
                <a:ext uri="{FF2B5EF4-FFF2-40B4-BE49-F238E27FC236}">
                  <a16:creationId xmlns:a16="http://schemas.microsoft.com/office/drawing/2014/main" id="{D83A287E-6852-43F4-BE30-09C308DF0B54}"/>
                </a:ext>
              </a:extLst>
            </p:cNvPr>
            <p:cNvSpPr/>
            <p:nvPr/>
          </p:nvSpPr>
          <p:spPr>
            <a:xfrm>
              <a:off x="8848080" y="2359913"/>
              <a:ext cx="128240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/>
                </a:buClr>
                <a:buSzPts val="1800"/>
                <a:buFont typeface="Arial"/>
                <a:buNone/>
              </a:pPr>
              <a:r>
                <a:rPr lang="en-GB" sz="1800" b="1" u="none" strike="noStrike" cap="none">
                  <a:solidFill>
                    <a:schemeClr val="accent3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endParaRPr sz="1800" b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9" name="Google Shape;3751;p110">
              <a:extLst>
                <a:ext uri="{FF2B5EF4-FFF2-40B4-BE49-F238E27FC236}">
                  <a16:creationId xmlns:a16="http://schemas.microsoft.com/office/drawing/2014/main" id="{E040432D-FD58-43B9-8F5C-EC39DC24833B}"/>
                </a:ext>
              </a:extLst>
            </p:cNvPr>
            <p:cNvSpPr/>
            <p:nvPr/>
          </p:nvSpPr>
          <p:spPr>
            <a:xfrm>
              <a:off x="9712176" y="2935977"/>
              <a:ext cx="128240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5"/>
                </a:buClr>
                <a:buSzPts val="1800"/>
                <a:buFont typeface="Arial"/>
                <a:buNone/>
              </a:pPr>
              <a:r>
                <a:rPr lang="en-GB" sz="1800" b="1" u="none" strike="noStrike" cap="none">
                  <a:solidFill>
                    <a:schemeClr val="accent5"/>
                  </a:solidFill>
                  <a:latin typeface="Arial"/>
                  <a:ea typeface="Arial"/>
                  <a:cs typeface="Arial"/>
                  <a:sym typeface="Arial"/>
                </a:rPr>
                <a:t>2</a:t>
              </a:r>
              <a:endParaRPr sz="1800" b="0" u="none" strike="noStrike" cap="none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" name="Google Shape;3752;p110">
              <a:extLst>
                <a:ext uri="{FF2B5EF4-FFF2-40B4-BE49-F238E27FC236}">
                  <a16:creationId xmlns:a16="http://schemas.microsoft.com/office/drawing/2014/main" id="{BBEE4AC0-DEF2-481F-AEC2-AFDEF9CEE519}"/>
                </a:ext>
              </a:extLst>
            </p:cNvPr>
            <p:cNvSpPr/>
            <p:nvPr/>
          </p:nvSpPr>
          <p:spPr>
            <a:xfrm>
              <a:off x="9658210" y="3976055"/>
              <a:ext cx="128240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4"/>
                </a:buClr>
                <a:buSzPts val="1800"/>
                <a:buFont typeface="Arial"/>
                <a:buNone/>
              </a:pPr>
              <a:r>
                <a:rPr lang="en-GB" sz="1800" b="1" u="none" strike="noStrike" cap="none">
                  <a:solidFill>
                    <a:schemeClr val="accent4"/>
                  </a:solidFill>
                  <a:latin typeface="Arial"/>
                  <a:ea typeface="Arial"/>
                  <a:cs typeface="Arial"/>
                  <a:sym typeface="Arial"/>
                </a:rPr>
                <a:t>3</a:t>
              </a:r>
              <a:endParaRPr sz="1800" b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3753;p110">
              <a:extLst>
                <a:ext uri="{FF2B5EF4-FFF2-40B4-BE49-F238E27FC236}">
                  <a16:creationId xmlns:a16="http://schemas.microsoft.com/office/drawing/2014/main" id="{2F213249-4FA6-4DC6-AEE1-2508482F521C}"/>
                </a:ext>
              </a:extLst>
            </p:cNvPr>
            <p:cNvSpPr/>
            <p:nvPr/>
          </p:nvSpPr>
          <p:spPr>
            <a:xfrm>
              <a:off x="8735364" y="4435360"/>
              <a:ext cx="128240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ts val="1800"/>
                <a:buFont typeface="Arial"/>
                <a:buNone/>
              </a:pPr>
              <a:r>
                <a:rPr lang="en-GB" sz="1800" b="1" u="none" strike="noStrike" cap="none">
                  <a:solidFill>
                    <a:schemeClr val="accent6"/>
                  </a:solidFill>
                  <a:latin typeface="Arial"/>
                  <a:ea typeface="Arial"/>
                  <a:cs typeface="Arial"/>
                  <a:sym typeface="Arial"/>
                </a:rPr>
                <a:t>4</a:t>
              </a:r>
              <a:endParaRPr sz="1800" b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" name="Google Shape;3754;p110">
              <a:extLst>
                <a:ext uri="{FF2B5EF4-FFF2-40B4-BE49-F238E27FC236}">
                  <a16:creationId xmlns:a16="http://schemas.microsoft.com/office/drawing/2014/main" id="{6B5B2739-1C6C-4EBD-965A-FEBDCA42E881}"/>
                </a:ext>
              </a:extLst>
            </p:cNvPr>
            <p:cNvSpPr/>
            <p:nvPr/>
          </p:nvSpPr>
          <p:spPr>
            <a:xfrm>
              <a:off x="7867139" y="3874373"/>
              <a:ext cx="128240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1800"/>
                <a:buFont typeface="Arial"/>
                <a:buNone/>
              </a:pPr>
              <a:r>
                <a:rPr lang="en-GB" sz="1800" b="1" u="none" strike="noStrike" cap="none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5</a:t>
              </a:r>
              <a:endParaRPr sz="1800" b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" name="Google Shape;3755;p110">
              <a:extLst>
                <a:ext uri="{FF2B5EF4-FFF2-40B4-BE49-F238E27FC236}">
                  <a16:creationId xmlns:a16="http://schemas.microsoft.com/office/drawing/2014/main" id="{EDDDC8A2-7D14-482C-A3F2-BAD9695C353A}"/>
                </a:ext>
              </a:extLst>
            </p:cNvPr>
            <p:cNvSpPr/>
            <p:nvPr/>
          </p:nvSpPr>
          <p:spPr>
            <a:xfrm>
              <a:off x="7911976" y="2853187"/>
              <a:ext cx="128240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Arial"/>
                <a:buNone/>
              </a:pPr>
              <a:r>
                <a:rPr lang="en-GB" sz="1800" b="1" u="none" strike="noStrike" cap="none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rPr>
                <a:t>6</a:t>
              </a:r>
              <a:endParaRPr sz="1800" b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Google Shape;3756;p110">
              <a:extLst>
                <a:ext uri="{FF2B5EF4-FFF2-40B4-BE49-F238E27FC236}">
                  <a16:creationId xmlns:a16="http://schemas.microsoft.com/office/drawing/2014/main" id="{0B5C933D-A18F-4DD1-8D1E-5DAD38C7055F}"/>
                </a:ext>
              </a:extLst>
            </p:cNvPr>
            <p:cNvSpPr txBox="1"/>
            <p:nvPr/>
          </p:nvSpPr>
          <p:spPr>
            <a:xfrm>
              <a:off x="8187265" y="3395567"/>
              <a:ext cx="1326036" cy="37920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b="1" dirty="0">
                  <a:solidFill>
                    <a:srgbClr val="0070C0"/>
                  </a:solidFill>
                  <a:latin typeface="Arial"/>
                  <a:ea typeface="Arial"/>
                  <a:cs typeface="Arial"/>
                  <a:sym typeface="Arial"/>
                </a:rPr>
                <a:t>OVERVIEW</a:t>
              </a:r>
              <a:endParaRPr dirty="0">
                <a:solidFill>
                  <a:srgbClr val="0070C0"/>
                </a:solidFill>
              </a:endParaRPr>
            </a:p>
          </p:txBody>
        </p:sp>
        <p:grpSp>
          <p:nvGrpSpPr>
            <p:cNvPr id="55" name="Google Shape;3757;p110">
              <a:extLst>
                <a:ext uri="{FF2B5EF4-FFF2-40B4-BE49-F238E27FC236}">
                  <a16:creationId xmlns:a16="http://schemas.microsoft.com/office/drawing/2014/main" id="{40191652-DA77-4E99-9EFB-E139E3A51045}"/>
                </a:ext>
              </a:extLst>
            </p:cNvPr>
            <p:cNvGrpSpPr/>
            <p:nvPr/>
          </p:nvGrpSpPr>
          <p:grpSpPr>
            <a:xfrm>
              <a:off x="6371801" y="1516649"/>
              <a:ext cx="5178718" cy="3767547"/>
              <a:chOff x="6371801" y="1516649"/>
              <a:chExt cx="5178718" cy="3767547"/>
            </a:xfrm>
          </p:grpSpPr>
          <p:sp>
            <p:nvSpPr>
              <p:cNvPr id="56" name="Google Shape;3758;p110">
                <a:extLst>
                  <a:ext uri="{FF2B5EF4-FFF2-40B4-BE49-F238E27FC236}">
                    <a16:creationId xmlns:a16="http://schemas.microsoft.com/office/drawing/2014/main" id="{B84A0EC7-F7C3-4EF6-A2F3-CA6231E71D39}"/>
                  </a:ext>
                </a:extLst>
              </p:cNvPr>
              <p:cNvSpPr txBox="1"/>
              <p:nvPr/>
            </p:nvSpPr>
            <p:spPr>
              <a:xfrm rot="-1628997">
                <a:off x="6587744" y="1516649"/>
                <a:ext cx="2946026" cy="39406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400" b="1" dirty="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Prediction</a:t>
                </a:r>
                <a:endParaRPr dirty="0"/>
              </a:p>
            </p:txBody>
          </p:sp>
          <p:sp>
            <p:nvSpPr>
              <p:cNvPr id="57" name="Google Shape;3759;p110">
                <a:extLst>
                  <a:ext uri="{FF2B5EF4-FFF2-40B4-BE49-F238E27FC236}">
                    <a16:creationId xmlns:a16="http://schemas.microsoft.com/office/drawing/2014/main" id="{D8409721-D597-43BB-8FDF-90E699966444}"/>
                  </a:ext>
                </a:extLst>
              </p:cNvPr>
              <p:cNvSpPr txBox="1"/>
              <p:nvPr/>
            </p:nvSpPr>
            <p:spPr>
              <a:xfrm rot="2018049">
                <a:off x="8604493" y="1880339"/>
                <a:ext cx="2946026" cy="23669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400" b="1" i="0" dirty="0">
                    <a:solidFill>
                      <a:srgbClr val="F1F2F2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Dataset Preparation</a:t>
                </a:r>
                <a:endParaRPr sz="16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Google Shape;3760;p110">
                <a:extLst>
                  <a:ext uri="{FF2B5EF4-FFF2-40B4-BE49-F238E27FC236}">
                    <a16:creationId xmlns:a16="http://schemas.microsoft.com/office/drawing/2014/main" id="{BEE282A0-AD79-43C7-AFA2-73EEFA9521ED}"/>
                  </a:ext>
                </a:extLst>
              </p:cNvPr>
              <p:cNvSpPr txBox="1"/>
              <p:nvPr/>
            </p:nvSpPr>
            <p:spPr>
              <a:xfrm rot="4543271">
                <a:off x="9052498" y="3592765"/>
                <a:ext cx="2946028" cy="27167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400" b="1" i="0" dirty="0">
                    <a:solidFill>
                      <a:srgbClr val="F1F2F2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Text Pre-processing</a:t>
                </a:r>
                <a:endParaRPr sz="14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Google Shape;3761;p110">
                <a:extLst>
                  <a:ext uri="{FF2B5EF4-FFF2-40B4-BE49-F238E27FC236}">
                    <a16:creationId xmlns:a16="http://schemas.microsoft.com/office/drawing/2014/main" id="{C34B2ADC-D6D0-40E3-85A8-7E0F6EA32679}"/>
                  </a:ext>
                </a:extLst>
              </p:cNvPr>
              <p:cNvSpPr txBox="1"/>
              <p:nvPr/>
            </p:nvSpPr>
            <p:spPr>
              <a:xfrm rot="1777118">
                <a:off x="6371801" y="4833534"/>
                <a:ext cx="2946026" cy="19731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400" b="1" i="0" dirty="0">
                    <a:solidFill>
                      <a:srgbClr val="F1F2F2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Training the </a:t>
                </a: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400" b="1" i="0" dirty="0">
                    <a:solidFill>
                      <a:srgbClr val="F1F2F2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SVM Model</a:t>
                </a:r>
                <a:endParaRPr sz="14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0" name="Google Shape;3762;p110">
                <a:extLst>
                  <a:ext uri="{FF2B5EF4-FFF2-40B4-BE49-F238E27FC236}">
                    <a16:creationId xmlns:a16="http://schemas.microsoft.com/office/drawing/2014/main" id="{F5C85831-7B85-4380-ADC6-5D7B199672D3}"/>
                  </a:ext>
                </a:extLst>
              </p:cNvPr>
              <p:cNvSpPr txBox="1"/>
              <p:nvPr/>
            </p:nvSpPr>
            <p:spPr>
              <a:xfrm rot="19742286">
                <a:off x="8143146" y="4983307"/>
                <a:ext cx="2946026" cy="30088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400" b="1" i="0" dirty="0">
                    <a:solidFill>
                      <a:srgbClr val="F1F2F2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Feature Extraction </a:t>
                </a: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1400" b="1" i="0" dirty="0">
                    <a:solidFill>
                      <a:srgbClr val="F1F2F2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using TF-IDF</a:t>
                </a:r>
                <a:endParaRPr sz="14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1" name="Google Shape;3761;p110">
            <a:extLst>
              <a:ext uri="{FF2B5EF4-FFF2-40B4-BE49-F238E27FC236}">
                <a16:creationId xmlns:a16="http://schemas.microsoft.com/office/drawing/2014/main" id="{CE9163A4-1ED9-4B20-B903-4688067E2F7E}"/>
              </a:ext>
            </a:extLst>
          </p:cNvPr>
          <p:cNvSpPr txBox="1"/>
          <p:nvPr/>
        </p:nvSpPr>
        <p:spPr>
          <a:xfrm rot="17407493">
            <a:off x="-432619" y="3563068"/>
            <a:ext cx="2946026" cy="197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 i="0" dirty="0">
                <a:solidFill>
                  <a:srgbClr val="F1F2F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odel Evaluation</a:t>
            </a:r>
            <a:endParaRPr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Google Shape;3704;p109">
            <a:extLst>
              <a:ext uri="{FF2B5EF4-FFF2-40B4-BE49-F238E27FC236}">
                <a16:creationId xmlns:a16="http://schemas.microsoft.com/office/drawing/2014/main" id="{0C8F3689-DECE-4F49-8BF1-B226A5A6151C}"/>
              </a:ext>
            </a:extLst>
          </p:cNvPr>
          <p:cNvSpPr/>
          <p:nvPr/>
        </p:nvSpPr>
        <p:spPr>
          <a:xfrm>
            <a:off x="6424303" y="5920775"/>
            <a:ext cx="5324785" cy="784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dirty="0">
                <a:solidFill>
                  <a:srgbClr val="B01513"/>
                </a:solidFill>
                <a:latin typeface="Arial"/>
                <a:ea typeface="Arial"/>
                <a:cs typeface="Arial"/>
                <a:sym typeface="Arial"/>
              </a:rPr>
              <a:t>Prediction</a:t>
            </a:r>
            <a:endParaRPr lang="en-GB" dirty="0">
              <a:solidFill>
                <a:srgbClr val="B01513"/>
              </a:solidFill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e-process new messages, transform them into TF-IDF vectors using the trained TF-IDF vectorizer, and use the SVM model to predict whether the messages are spam or not.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63" name="Google Shape;3709;p109">
            <a:extLst>
              <a:ext uri="{FF2B5EF4-FFF2-40B4-BE49-F238E27FC236}">
                <a16:creationId xmlns:a16="http://schemas.microsoft.com/office/drawing/2014/main" id="{DE441535-E17E-4E05-8B57-B3E55453941D}"/>
              </a:ext>
            </a:extLst>
          </p:cNvPr>
          <p:cNvSpPr/>
          <p:nvPr/>
        </p:nvSpPr>
        <p:spPr>
          <a:xfrm>
            <a:off x="6094975" y="5880789"/>
            <a:ext cx="242584" cy="267575"/>
          </a:xfrm>
          <a:prstGeom prst="ellipse">
            <a:avLst/>
          </a:prstGeom>
          <a:solidFill>
            <a:srgbClr val="B0151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05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863659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9B0A069-355C-4F48-AF3D-416D62C5A0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B0A069-355C-4F48-AF3D-416D62C5A0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oogle Shape;22333;p274">
            <a:extLst>
              <a:ext uri="{FF2B5EF4-FFF2-40B4-BE49-F238E27FC236}">
                <a16:creationId xmlns:a16="http://schemas.microsoft.com/office/drawing/2014/main" id="{863B9FA5-8E79-4FB4-8ABF-983F69CF23FB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11136"/>
          <a:stretch/>
        </p:blipFill>
        <p:spPr>
          <a:xfrm>
            <a:off x="7374194" y="3993550"/>
            <a:ext cx="4640825" cy="284969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271A6C9-E4A9-6D48-33C2-9524E69DD8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b="1" dirty="0">
                <a:solidFill>
                  <a:schemeClr val="bg1"/>
                </a:solidFill>
              </a:rPr>
              <a:t>Data Preparation</a:t>
            </a:r>
          </a:p>
        </p:txBody>
      </p:sp>
      <p:sp>
        <p:nvSpPr>
          <p:cNvPr id="8" name="Google Shape;8997;p180">
            <a:extLst>
              <a:ext uri="{FF2B5EF4-FFF2-40B4-BE49-F238E27FC236}">
                <a16:creationId xmlns:a16="http://schemas.microsoft.com/office/drawing/2014/main" id="{364C8993-FD64-4EA6-95DB-B4081EB13F20}"/>
              </a:ext>
            </a:extLst>
          </p:cNvPr>
          <p:cNvSpPr/>
          <p:nvPr/>
        </p:nvSpPr>
        <p:spPr>
          <a:xfrm>
            <a:off x="646111" y="1920411"/>
            <a:ext cx="3372010" cy="1486981"/>
          </a:xfrm>
          <a:custGeom>
            <a:avLst/>
            <a:gdLst/>
            <a:ahLst/>
            <a:cxnLst/>
            <a:rect l="l" t="t" r="r" b="b"/>
            <a:pathLst>
              <a:path w="3846" h="1696" extrusionOk="0">
                <a:moveTo>
                  <a:pt x="3294" y="446"/>
                </a:moveTo>
                <a:lnTo>
                  <a:pt x="2736" y="0"/>
                </a:lnTo>
                <a:lnTo>
                  <a:pt x="2736" y="438"/>
                </a:lnTo>
                <a:lnTo>
                  <a:pt x="96" y="438"/>
                </a:lnTo>
                <a:lnTo>
                  <a:pt x="96" y="438"/>
                </a:lnTo>
                <a:lnTo>
                  <a:pt x="78" y="440"/>
                </a:lnTo>
                <a:lnTo>
                  <a:pt x="60" y="446"/>
                </a:lnTo>
                <a:lnTo>
                  <a:pt x="44" y="454"/>
                </a:lnTo>
                <a:lnTo>
                  <a:pt x="28" y="466"/>
                </a:lnTo>
                <a:lnTo>
                  <a:pt x="18" y="480"/>
                </a:lnTo>
                <a:lnTo>
                  <a:pt x="8" y="496"/>
                </a:lnTo>
                <a:lnTo>
                  <a:pt x="2" y="514"/>
                </a:lnTo>
                <a:lnTo>
                  <a:pt x="0" y="534"/>
                </a:lnTo>
                <a:lnTo>
                  <a:pt x="0" y="1044"/>
                </a:lnTo>
                <a:lnTo>
                  <a:pt x="0" y="1156"/>
                </a:lnTo>
                <a:lnTo>
                  <a:pt x="0" y="1156"/>
                </a:lnTo>
                <a:lnTo>
                  <a:pt x="0" y="1256"/>
                </a:lnTo>
                <a:lnTo>
                  <a:pt x="558" y="1696"/>
                </a:lnTo>
                <a:lnTo>
                  <a:pt x="1106" y="1252"/>
                </a:lnTo>
                <a:lnTo>
                  <a:pt x="3750" y="1252"/>
                </a:lnTo>
                <a:lnTo>
                  <a:pt x="3750" y="1252"/>
                </a:lnTo>
                <a:lnTo>
                  <a:pt x="3770" y="1250"/>
                </a:lnTo>
                <a:lnTo>
                  <a:pt x="3788" y="1244"/>
                </a:lnTo>
                <a:lnTo>
                  <a:pt x="3804" y="1236"/>
                </a:lnTo>
                <a:lnTo>
                  <a:pt x="3818" y="1224"/>
                </a:lnTo>
                <a:lnTo>
                  <a:pt x="3830" y="1210"/>
                </a:lnTo>
                <a:lnTo>
                  <a:pt x="3838" y="1192"/>
                </a:lnTo>
                <a:lnTo>
                  <a:pt x="3844" y="1174"/>
                </a:lnTo>
                <a:lnTo>
                  <a:pt x="3846" y="1156"/>
                </a:lnTo>
                <a:lnTo>
                  <a:pt x="3846" y="674"/>
                </a:lnTo>
                <a:lnTo>
                  <a:pt x="3846" y="572"/>
                </a:lnTo>
                <a:lnTo>
                  <a:pt x="3846" y="534"/>
                </a:lnTo>
                <a:lnTo>
                  <a:pt x="3846" y="0"/>
                </a:lnTo>
                <a:lnTo>
                  <a:pt x="3294" y="44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8999;p180">
            <a:extLst>
              <a:ext uri="{FF2B5EF4-FFF2-40B4-BE49-F238E27FC236}">
                <a16:creationId xmlns:a16="http://schemas.microsoft.com/office/drawing/2014/main" id="{A2657DFB-3DFF-4640-A949-97C98EBEBB96}"/>
              </a:ext>
            </a:extLst>
          </p:cNvPr>
          <p:cNvSpPr/>
          <p:nvPr/>
        </p:nvSpPr>
        <p:spPr>
          <a:xfrm flipH="1">
            <a:off x="646111" y="3083338"/>
            <a:ext cx="3372010" cy="1486981"/>
          </a:xfrm>
          <a:custGeom>
            <a:avLst/>
            <a:gdLst/>
            <a:ahLst/>
            <a:cxnLst/>
            <a:rect l="l" t="t" r="r" b="b"/>
            <a:pathLst>
              <a:path w="3846" h="1696" extrusionOk="0">
                <a:moveTo>
                  <a:pt x="3294" y="446"/>
                </a:moveTo>
                <a:lnTo>
                  <a:pt x="2736" y="0"/>
                </a:lnTo>
                <a:lnTo>
                  <a:pt x="2736" y="438"/>
                </a:lnTo>
                <a:lnTo>
                  <a:pt x="96" y="438"/>
                </a:lnTo>
                <a:lnTo>
                  <a:pt x="96" y="438"/>
                </a:lnTo>
                <a:lnTo>
                  <a:pt x="78" y="440"/>
                </a:lnTo>
                <a:lnTo>
                  <a:pt x="60" y="446"/>
                </a:lnTo>
                <a:lnTo>
                  <a:pt x="44" y="454"/>
                </a:lnTo>
                <a:lnTo>
                  <a:pt x="28" y="466"/>
                </a:lnTo>
                <a:lnTo>
                  <a:pt x="18" y="480"/>
                </a:lnTo>
                <a:lnTo>
                  <a:pt x="8" y="496"/>
                </a:lnTo>
                <a:lnTo>
                  <a:pt x="2" y="514"/>
                </a:lnTo>
                <a:lnTo>
                  <a:pt x="0" y="534"/>
                </a:lnTo>
                <a:lnTo>
                  <a:pt x="0" y="1044"/>
                </a:lnTo>
                <a:lnTo>
                  <a:pt x="0" y="1156"/>
                </a:lnTo>
                <a:lnTo>
                  <a:pt x="0" y="1156"/>
                </a:lnTo>
                <a:lnTo>
                  <a:pt x="0" y="1256"/>
                </a:lnTo>
                <a:lnTo>
                  <a:pt x="558" y="1696"/>
                </a:lnTo>
                <a:lnTo>
                  <a:pt x="1106" y="1252"/>
                </a:lnTo>
                <a:lnTo>
                  <a:pt x="3750" y="1252"/>
                </a:lnTo>
                <a:lnTo>
                  <a:pt x="3750" y="1252"/>
                </a:lnTo>
                <a:lnTo>
                  <a:pt x="3770" y="1250"/>
                </a:lnTo>
                <a:lnTo>
                  <a:pt x="3788" y="1244"/>
                </a:lnTo>
                <a:lnTo>
                  <a:pt x="3804" y="1236"/>
                </a:lnTo>
                <a:lnTo>
                  <a:pt x="3818" y="1224"/>
                </a:lnTo>
                <a:lnTo>
                  <a:pt x="3830" y="1210"/>
                </a:lnTo>
                <a:lnTo>
                  <a:pt x="3838" y="1192"/>
                </a:lnTo>
                <a:lnTo>
                  <a:pt x="3844" y="1174"/>
                </a:lnTo>
                <a:lnTo>
                  <a:pt x="3846" y="1156"/>
                </a:lnTo>
                <a:lnTo>
                  <a:pt x="3846" y="674"/>
                </a:lnTo>
                <a:lnTo>
                  <a:pt x="3846" y="572"/>
                </a:lnTo>
                <a:lnTo>
                  <a:pt x="3846" y="534"/>
                </a:lnTo>
                <a:lnTo>
                  <a:pt x="3846" y="0"/>
                </a:lnTo>
                <a:lnTo>
                  <a:pt x="3294" y="44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9001;p180">
            <a:extLst>
              <a:ext uri="{FF2B5EF4-FFF2-40B4-BE49-F238E27FC236}">
                <a16:creationId xmlns:a16="http://schemas.microsoft.com/office/drawing/2014/main" id="{7A4B584E-3B5C-4F42-ADD3-F39CD64A66E5}"/>
              </a:ext>
            </a:extLst>
          </p:cNvPr>
          <p:cNvSpPr/>
          <p:nvPr/>
        </p:nvSpPr>
        <p:spPr>
          <a:xfrm>
            <a:off x="830322" y="2479042"/>
            <a:ext cx="611119" cy="611119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9002;p180">
            <a:extLst>
              <a:ext uri="{FF2B5EF4-FFF2-40B4-BE49-F238E27FC236}">
                <a16:creationId xmlns:a16="http://schemas.microsoft.com/office/drawing/2014/main" id="{16476311-3F95-4CAF-928D-9099484969F1}"/>
              </a:ext>
            </a:extLst>
          </p:cNvPr>
          <p:cNvSpPr/>
          <p:nvPr/>
        </p:nvSpPr>
        <p:spPr>
          <a:xfrm>
            <a:off x="3230440" y="3595063"/>
            <a:ext cx="611119" cy="611119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9005;p180">
            <a:extLst>
              <a:ext uri="{FF2B5EF4-FFF2-40B4-BE49-F238E27FC236}">
                <a16:creationId xmlns:a16="http://schemas.microsoft.com/office/drawing/2014/main" id="{6E71C169-B617-4BEC-B254-99B6B653A098}"/>
              </a:ext>
            </a:extLst>
          </p:cNvPr>
          <p:cNvSpPr txBox="1"/>
          <p:nvPr/>
        </p:nvSpPr>
        <p:spPr>
          <a:xfrm>
            <a:off x="1969351" y="2503731"/>
            <a:ext cx="914400" cy="352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tep 1</a:t>
            </a:r>
            <a:endParaRPr/>
          </a:p>
        </p:txBody>
      </p:sp>
      <p:sp>
        <p:nvSpPr>
          <p:cNvPr id="14" name="Google Shape;9006;p180">
            <a:extLst>
              <a:ext uri="{FF2B5EF4-FFF2-40B4-BE49-F238E27FC236}">
                <a16:creationId xmlns:a16="http://schemas.microsoft.com/office/drawing/2014/main" id="{4E6C9356-29CD-495E-8916-AC7F6C3E91ED}"/>
              </a:ext>
            </a:extLst>
          </p:cNvPr>
          <p:cNvSpPr txBox="1"/>
          <p:nvPr/>
        </p:nvSpPr>
        <p:spPr>
          <a:xfrm>
            <a:off x="1969351" y="3640767"/>
            <a:ext cx="914400" cy="352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tep 2</a:t>
            </a:r>
            <a:endParaRPr/>
          </a:p>
        </p:txBody>
      </p:sp>
      <p:cxnSp>
        <p:nvCxnSpPr>
          <p:cNvPr id="15" name="Google Shape;9009;p180">
            <a:extLst>
              <a:ext uri="{FF2B5EF4-FFF2-40B4-BE49-F238E27FC236}">
                <a16:creationId xmlns:a16="http://schemas.microsoft.com/office/drawing/2014/main" id="{DD1B4E70-D941-4C5C-B9E5-97E6460A248C}"/>
              </a:ext>
            </a:extLst>
          </p:cNvPr>
          <p:cNvCxnSpPr/>
          <p:nvPr/>
        </p:nvCxnSpPr>
        <p:spPr>
          <a:xfrm>
            <a:off x="4129591" y="2280451"/>
            <a:ext cx="7694458" cy="0"/>
          </a:xfrm>
          <a:prstGeom prst="straightConnector1">
            <a:avLst/>
          </a:prstGeom>
          <a:noFill/>
          <a:ln w="12700" cap="sq" cmpd="sng">
            <a:solidFill>
              <a:schemeClr val="accent3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6" name="Google Shape;9010;p180">
            <a:extLst>
              <a:ext uri="{FF2B5EF4-FFF2-40B4-BE49-F238E27FC236}">
                <a16:creationId xmlns:a16="http://schemas.microsoft.com/office/drawing/2014/main" id="{7A3C4FC2-989E-4799-8E82-08009EFE8288}"/>
              </a:ext>
            </a:extLst>
          </p:cNvPr>
          <p:cNvCxnSpPr/>
          <p:nvPr/>
        </p:nvCxnSpPr>
        <p:spPr>
          <a:xfrm>
            <a:off x="4129591" y="3457244"/>
            <a:ext cx="7694458" cy="0"/>
          </a:xfrm>
          <a:prstGeom prst="straightConnector1">
            <a:avLst/>
          </a:prstGeom>
          <a:noFill/>
          <a:ln w="12700" cap="sq" cmpd="sng">
            <a:solidFill>
              <a:schemeClr val="accent5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7" name="Google Shape;9013;p180">
            <a:extLst>
              <a:ext uri="{FF2B5EF4-FFF2-40B4-BE49-F238E27FC236}">
                <a16:creationId xmlns:a16="http://schemas.microsoft.com/office/drawing/2014/main" id="{27FD668E-EC65-4E41-B38C-183F5EF28FE8}"/>
              </a:ext>
            </a:extLst>
          </p:cNvPr>
          <p:cNvSpPr/>
          <p:nvPr/>
        </p:nvSpPr>
        <p:spPr>
          <a:xfrm>
            <a:off x="4129591" y="2284530"/>
            <a:ext cx="7694457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82880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80000"/>
            </a:pPr>
            <a:r>
              <a:rPr lang="en-GB" sz="1600" b="0" i="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ather a labelled dataset containing examples of both spam and non-spam (ham) messages. The dataset should have a sufficient number of examples for effective training. We got the data from the Kaggle.</a:t>
            </a:r>
            <a:endParaRPr lang="en-US" sz="16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Google Shape;9014;p180">
            <a:extLst>
              <a:ext uri="{FF2B5EF4-FFF2-40B4-BE49-F238E27FC236}">
                <a16:creationId xmlns:a16="http://schemas.microsoft.com/office/drawing/2014/main" id="{1577F1E8-0E94-4C0F-B732-70C5CA3DCAD7}"/>
              </a:ext>
            </a:extLst>
          </p:cNvPr>
          <p:cNvSpPr/>
          <p:nvPr/>
        </p:nvSpPr>
        <p:spPr>
          <a:xfrm>
            <a:off x="4129591" y="3461323"/>
            <a:ext cx="76944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82880" algn="l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80000"/>
            </a:pPr>
            <a:r>
              <a:rPr lang="en-GB" sz="1600" b="0" i="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plit the dataset into training and testing sets. The training set will be used to train the model, while the testing set will be used to evaluate its performance.</a:t>
            </a:r>
            <a:endParaRPr lang="en-US" sz="16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Google Shape;9017;p180">
            <a:extLst>
              <a:ext uri="{FF2B5EF4-FFF2-40B4-BE49-F238E27FC236}">
                <a16:creationId xmlns:a16="http://schemas.microsoft.com/office/drawing/2014/main" id="{6EFA98C1-5438-4949-B932-FD6FEF933F98}"/>
              </a:ext>
            </a:extLst>
          </p:cNvPr>
          <p:cNvSpPr/>
          <p:nvPr/>
        </p:nvSpPr>
        <p:spPr>
          <a:xfrm>
            <a:off x="3392415" y="3748947"/>
            <a:ext cx="336586" cy="336586"/>
          </a:xfrm>
          <a:custGeom>
            <a:avLst/>
            <a:gdLst/>
            <a:ahLst/>
            <a:cxnLst/>
            <a:rect l="l" t="t" r="r" b="b"/>
            <a:pathLst>
              <a:path w="346" h="346" extrusionOk="0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331" y="331"/>
                </a:moveTo>
                <a:cubicBezTo>
                  <a:pt x="14" y="331"/>
                  <a:pt x="14" y="331"/>
                  <a:pt x="14" y="331"/>
                </a:cubicBezTo>
                <a:cubicBezTo>
                  <a:pt x="14" y="15"/>
                  <a:pt x="14" y="15"/>
                  <a:pt x="14" y="15"/>
                </a:cubicBezTo>
                <a:cubicBezTo>
                  <a:pt x="331" y="15"/>
                  <a:pt x="331" y="15"/>
                  <a:pt x="331" y="15"/>
                </a:cubicBezTo>
                <a:lnTo>
                  <a:pt x="331" y="331"/>
                </a:lnTo>
                <a:close/>
                <a:moveTo>
                  <a:pt x="26" y="207"/>
                </a:moveTo>
                <a:cubicBezTo>
                  <a:pt x="26" y="176"/>
                  <a:pt x="51" y="150"/>
                  <a:pt x="82" y="150"/>
                </a:cubicBezTo>
                <a:cubicBezTo>
                  <a:pt x="95" y="119"/>
                  <a:pt x="125" y="99"/>
                  <a:pt x="159" y="99"/>
                </a:cubicBezTo>
                <a:cubicBezTo>
                  <a:pt x="187" y="99"/>
                  <a:pt x="214" y="114"/>
                  <a:pt x="229" y="138"/>
                </a:cubicBezTo>
                <a:cubicBezTo>
                  <a:pt x="235" y="134"/>
                  <a:pt x="242" y="131"/>
                  <a:pt x="249" y="131"/>
                </a:cubicBezTo>
                <a:cubicBezTo>
                  <a:pt x="269" y="131"/>
                  <a:pt x="285" y="147"/>
                  <a:pt x="285" y="167"/>
                </a:cubicBezTo>
                <a:cubicBezTo>
                  <a:pt x="285" y="169"/>
                  <a:pt x="285" y="171"/>
                  <a:pt x="284" y="173"/>
                </a:cubicBezTo>
                <a:cubicBezTo>
                  <a:pt x="304" y="178"/>
                  <a:pt x="319" y="196"/>
                  <a:pt x="319" y="217"/>
                </a:cubicBezTo>
                <a:cubicBezTo>
                  <a:pt x="319" y="243"/>
                  <a:pt x="298" y="264"/>
                  <a:pt x="273" y="264"/>
                </a:cubicBezTo>
                <a:cubicBezTo>
                  <a:pt x="222" y="264"/>
                  <a:pt x="222" y="264"/>
                  <a:pt x="222" y="264"/>
                </a:cubicBezTo>
                <a:cubicBezTo>
                  <a:pt x="222" y="249"/>
                  <a:pt x="222" y="249"/>
                  <a:pt x="222" y="249"/>
                </a:cubicBezTo>
                <a:cubicBezTo>
                  <a:pt x="273" y="249"/>
                  <a:pt x="273" y="249"/>
                  <a:pt x="273" y="249"/>
                </a:cubicBezTo>
                <a:cubicBezTo>
                  <a:pt x="290" y="249"/>
                  <a:pt x="304" y="235"/>
                  <a:pt x="304" y="217"/>
                </a:cubicBezTo>
                <a:cubicBezTo>
                  <a:pt x="304" y="201"/>
                  <a:pt x="291" y="187"/>
                  <a:pt x="275" y="186"/>
                </a:cubicBezTo>
                <a:cubicBezTo>
                  <a:pt x="264" y="185"/>
                  <a:pt x="264" y="185"/>
                  <a:pt x="264" y="185"/>
                </a:cubicBezTo>
                <a:cubicBezTo>
                  <a:pt x="268" y="176"/>
                  <a:pt x="268" y="176"/>
                  <a:pt x="268" y="176"/>
                </a:cubicBezTo>
                <a:cubicBezTo>
                  <a:pt x="270" y="173"/>
                  <a:pt x="270" y="170"/>
                  <a:pt x="270" y="167"/>
                </a:cubicBezTo>
                <a:cubicBezTo>
                  <a:pt x="270" y="156"/>
                  <a:pt x="261" y="146"/>
                  <a:pt x="249" y="146"/>
                </a:cubicBezTo>
                <a:cubicBezTo>
                  <a:pt x="243" y="146"/>
                  <a:pt x="237" y="149"/>
                  <a:pt x="233" y="154"/>
                </a:cubicBezTo>
                <a:cubicBezTo>
                  <a:pt x="225" y="163"/>
                  <a:pt x="225" y="163"/>
                  <a:pt x="225" y="163"/>
                </a:cubicBezTo>
                <a:cubicBezTo>
                  <a:pt x="220" y="153"/>
                  <a:pt x="220" y="153"/>
                  <a:pt x="220" y="153"/>
                </a:cubicBezTo>
                <a:cubicBezTo>
                  <a:pt x="209" y="129"/>
                  <a:pt x="185" y="113"/>
                  <a:pt x="159" y="113"/>
                </a:cubicBezTo>
                <a:cubicBezTo>
                  <a:pt x="129" y="113"/>
                  <a:pt x="104" y="132"/>
                  <a:pt x="94" y="160"/>
                </a:cubicBezTo>
                <a:cubicBezTo>
                  <a:pt x="93" y="165"/>
                  <a:pt x="93" y="165"/>
                  <a:pt x="93" y="165"/>
                </a:cubicBezTo>
                <a:cubicBezTo>
                  <a:pt x="87" y="165"/>
                  <a:pt x="87" y="165"/>
                  <a:pt x="87" y="165"/>
                </a:cubicBezTo>
                <a:cubicBezTo>
                  <a:pt x="86" y="165"/>
                  <a:pt x="84" y="164"/>
                  <a:pt x="83" y="164"/>
                </a:cubicBezTo>
                <a:cubicBezTo>
                  <a:pt x="60" y="164"/>
                  <a:pt x="41" y="183"/>
                  <a:pt x="41" y="207"/>
                </a:cubicBezTo>
                <a:cubicBezTo>
                  <a:pt x="41" y="230"/>
                  <a:pt x="60" y="249"/>
                  <a:pt x="83" y="249"/>
                </a:cubicBezTo>
                <a:cubicBezTo>
                  <a:pt x="129" y="249"/>
                  <a:pt x="129" y="249"/>
                  <a:pt x="129" y="249"/>
                </a:cubicBezTo>
                <a:cubicBezTo>
                  <a:pt x="129" y="264"/>
                  <a:pt x="129" y="264"/>
                  <a:pt x="129" y="264"/>
                </a:cubicBezTo>
                <a:cubicBezTo>
                  <a:pt x="83" y="264"/>
                  <a:pt x="83" y="264"/>
                  <a:pt x="83" y="264"/>
                </a:cubicBezTo>
                <a:cubicBezTo>
                  <a:pt x="52" y="264"/>
                  <a:pt x="26" y="238"/>
                  <a:pt x="26" y="207"/>
                </a:cubicBezTo>
                <a:close/>
                <a:moveTo>
                  <a:pt x="173" y="184"/>
                </a:moveTo>
                <a:cubicBezTo>
                  <a:pt x="216" y="227"/>
                  <a:pt x="216" y="227"/>
                  <a:pt x="216" y="227"/>
                </a:cubicBezTo>
                <a:cubicBezTo>
                  <a:pt x="206" y="238"/>
                  <a:pt x="206" y="238"/>
                  <a:pt x="206" y="238"/>
                </a:cubicBezTo>
                <a:cubicBezTo>
                  <a:pt x="180" y="212"/>
                  <a:pt x="180" y="212"/>
                  <a:pt x="180" y="212"/>
                </a:cubicBezTo>
                <a:cubicBezTo>
                  <a:pt x="180" y="296"/>
                  <a:pt x="180" y="296"/>
                  <a:pt x="180" y="296"/>
                </a:cubicBezTo>
                <a:cubicBezTo>
                  <a:pt x="165" y="296"/>
                  <a:pt x="165" y="296"/>
                  <a:pt x="165" y="296"/>
                </a:cubicBezTo>
                <a:cubicBezTo>
                  <a:pt x="165" y="212"/>
                  <a:pt x="165" y="212"/>
                  <a:pt x="165" y="212"/>
                </a:cubicBezTo>
                <a:cubicBezTo>
                  <a:pt x="139" y="238"/>
                  <a:pt x="139" y="238"/>
                  <a:pt x="139" y="238"/>
                </a:cubicBezTo>
                <a:cubicBezTo>
                  <a:pt x="129" y="227"/>
                  <a:pt x="129" y="227"/>
                  <a:pt x="129" y="227"/>
                </a:cubicBezTo>
                <a:lnTo>
                  <a:pt x="173" y="184"/>
                </a:lnTo>
                <a:close/>
              </a:path>
            </a:pathLst>
          </a:custGeom>
          <a:solidFill>
            <a:srgbClr val="DB536A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</a:pPr>
            <a:endParaRPr sz="700" b="0" i="0" u="none" strike="noStrike" cap="none">
              <a:solidFill>
                <a:srgbClr val="D04A0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9018;p180">
            <a:extLst>
              <a:ext uri="{FF2B5EF4-FFF2-40B4-BE49-F238E27FC236}">
                <a16:creationId xmlns:a16="http://schemas.microsoft.com/office/drawing/2014/main" id="{D83ED8A2-D364-447F-ABAA-C6B9F3BB19CC}"/>
              </a:ext>
            </a:extLst>
          </p:cNvPr>
          <p:cNvSpPr/>
          <p:nvPr/>
        </p:nvSpPr>
        <p:spPr>
          <a:xfrm>
            <a:off x="978494" y="2618625"/>
            <a:ext cx="336586" cy="347472"/>
          </a:xfrm>
          <a:custGeom>
            <a:avLst/>
            <a:gdLst/>
            <a:ahLst/>
            <a:cxnLst/>
            <a:rect l="l" t="t" r="r" b="b"/>
            <a:pathLst>
              <a:path w="153" h="153" extrusionOk="0">
                <a:moveTo>
                  <a:pt x="0" y="0"/>
                </a:moveTo>
                <a:lnTo>
                  <a:pt x="0" y="153"/>
                </a:lnTo>
                <a:lnTo>
                  <a:pt x="153" y="153"/>
                </a:lnTo>
                <a:lnTo>
                  <a:pt x="153" y="0"/>
                </a:lnTo>
                <a:lnTo>
                  <a:pt x="0" y="0"/>
                </a:lnTo>
                <a:close/>
                <a:moveTo>
                  <a:pt x="147" y="147"/>
                </a:moveTo>
                <a:lnTo>
                  <a:pt x="7" y="147"/>
                </a:lnTo>
                <a:lnTo>
                  <a:pt x="7" y="7"/>
                </a:lnTo>
                <a:lnTo>
                  <a:pt x="26" y="7"/>
                </a:lnTo>
                <a:lnTo>
                  <a:pt x="26" y="17"/>
                </a:lnTo>
                <a:lnTo>
                  <a:pt x="18" y="17"/>
                </a:lnTo>
                <a:lnTo>
                  <a:pt x="18" y="42"/>
                </a:lnTo>
                <a:lnTo>
                  <a:pt x="26" y="42"/>
                </a:lnTo>
                <a:lnTo>
                  <a:pt x="26" y="69"/>
                </a:lnTo>
                <a:lnTo>
                  <a:pt x="18" y="69"/>
                </a:lnTo>
                <a:lnTo>
                  <a:pt x="18" y="95"/>
                </a:lnTo>
                <a:lnTo>
                  <a:pt x="43" y="95"/>
                </a:lnTo>
                <a:lnTo>
                  <a:pt x="43" y="85"/>
                </a:lnTo>
                <a:lnTo>
                  <a:pt x="58" y="85"/>
                </a:lnTo>
                <a:lnTo>
                  <a:pt x="58" y="112"/>
                </a:lnTo>
                <a:lnTo>
                  <a:pt x="49" y="112"/>
                </a:lnTo>
                <a:lnTo>
                  <a:pt x="49" y="137"/>
                </a:lnTo>
                <a:lnTo>
                  <a:pt x="58" y="137"/>
                </a:lnTo>
                <a:lnTo>
                  <a:pt x="65" y="137"/>
                </a:lnTo>
                <a:lnTo>
                  <a:pt x="74" y="137"/>
                </a:lnTo>
                <a:lnTo>
                  <a:pt x="74" y="128"/>
                </a:lnTo>
                <a:lnTo>
                  <a:pt x="97" y="128"/>
                </a:lnTo>
                <a:lnTo>
                  <a:pt x="97" y="95"/>
                </a:lnTo>
                <a:lnTo>
                  <a:pt x="106" y="95"/>
                </a:lnTo>
                <a:lnTo>
                  <a:pt x="106" y="69"/>
                </a:lnTo>
                <a:lnTo>
                  <a:pt x="97" y="69"/>
                </a:lnTo>
                <a:lnTo>
                  <a:pt x="97" y="59"/>
                </a:lnTo>
                <a:lnTo>
                  <a:pt x="112" y="59"/>
                </a:lnTo>
                <a:lnTo>
                  <a:pt x="112" y="69"/>
                </a:lnTo>
                <a:lnTo>
                  <a:pt x="137" y="69"/>
                </a:lnTo>
                <a:lnTo>
                  <a:pt x="137" y="59"/>
                </a:lnTo>
                <a:lnTo>
                  <a:pt x="147" y="59"/>
                </a:lnTo>
                <a:lnTo>
                  <a:pt x="147" y="147"/>
                </a:lnTo>
                <a:close/>
                <a:moveTo>
                  <a:pt x="36" y="23"/>
                </a:moveTo>
                <a:lnTo>
                  <a:pt x="36" y="36"/>
                </a:lnTo>
                <a:lnTo>
                  <a:pt x="24" y="36"/>
                </a:lnTo>
                <a:lnTo>
                  <a:pt x="24" y="23"/>
                </a:lnTo>
                <a:lnTo>
                  <a:pt x="36" y="23"/>
                </a:lnTo>
                <a:close/>
                <a:moveTo>
                  <a:pt x="36" y="76"/>
                </a:moveTo>
                <a:lnTo>
                  <a:pt x="36" y="89"/>
                </a:lnTo>
                <a:lnTo>
                  <a:pt x="24" y="89"/>
                </a:lnTo>
                <a:lnTo>
                  <a:pt x="24" y="76"/>
                </a:lnTo>
                <a:lnTo>
                  <a:pt x="36" y="76"/>
                </a:lnTo>
                <a:close/>
                <a:moveTo>
                  <a:pt x="68" y="118"/>
                </a:moveTo>
                <a:lnTo>
                  <a:pt x="68" y="131"/>
                </a:lnTo>
                <a:lnTo>
                  <a:pt x="55" y="131"/>
                </a:lnTo>
                <a:lnTo>
                  <a:pt x="55" y="118"/>
                </a:lnTo>
                <a:lnTo>
                  <a:pt x="68" y="118"/>
                </a:lnTo>
                <a:close/>
                <a:moveTo>
                  <a:pt x="87" y="89"/>
                </a:moveTo>
                <a:lnTo>
                  <a:pt x="87" y="76"/>
                </a:lnTo>
                <a:lnTo>
                  <a:pt x="100" y="76"/>
                </a:lnTo>
                <a:lnTo>
                  <a:pt x="100" y="89"/>
                </a:lnTo>
                <a:lnTo>
                  <a:pt x="87" y="89"/>
                </a:lnTo>
                <a:close/>
                <a:moveTo>
                  <a:pt x="119" y="62"/>
                </a:moveTo>
                <a:lnTo>
                  <a:pt x="119" y="50"/>
                </a:lnTo>
                <a:lnTo>
                  <a:pt x="131" y="50"/>
                </a:lnTo>
                <a:lnTo>
                  <a:pt x="131" y="62"/>
                </a:lnTo>
                <a:lnTo>
                  <a:pt x="119" y="62"/>
                </a:lnTo>
                <a:close/>
                <a:moveTo>
                  <a:pt x="147" y="53"/>
                </a:moveTo>
                <a:lnTo>
                  <a:pt x="137" y="53"/>
                </a:lnTo>
                <a:lnTo>
                  <a:pt x="137" y="43"/>
                </a:lnTo>
                <a:lnTo>
                  <a:pt x="112" y="43"/>
                </a:lnTo>
                <a:lnTo>
                  <a:pt x="112" y="53"/>
                </a:lnTo>
                <a:lnTo>
                  <a:pt x="90" y="53"/>
                </a:lnTo>
                <a:lnTo>
                  <a:pt x="90" y="69"/>
                </a:lnTo>
                <a:lnTo>
                  <a:pt x="81" y="69"/>
                </a:lnTo>
                <a:lnTo>
                  <a:pt x="81" y="95"/>
                </a:lnTo>
                <a:lnTo>
                  <a:pt x="90" y="95"/>
                </a:lnTo>
                <a:lnTo>
                  <a:pt x="90" y="121"/>
                </a:lnTo>
                <a:lnTo>
                  <a:pt x="74" y="121"/>
                </a:lnTo>
                <a:lnTo>
                  <a:pt x="74" y="112"/>
                </a:lnTo>
                <a:lnTo>
                  <a:pt x="65" y="112"/>
                </a:lnTo>
                <a:lnTo>
                  <a:pt x="65" y="112"/>
                </a:lnTo>
                <a:lnTo>
                  <a:pt x="65" y="79"/>
                </a:lnTo>
                <a:lnTo>
                  <a:pt x="43" y="79"/>
                </a:lnTo>
                <a:lnTo>
                  <a:pt x="43" y="69"/>
                </a:lnTo>
                <a:lnTo>
                  <a:pt x="34" y="69"/>
                </a:lnTo>
                <a:lnTo>
                  <a:pt x="34" y="42"/>
                </a:lnTo>
                <a:lnTo>
                  <a:pt x="43" y="42"/>
                </a:lnTo>
                <a:lnTo>
                  <a:pt x="43" y="17"/>
                </a:lnTo>
                <a:lnTo>
                  <a:pt x="34" y="17"/>
                </a:lnTo>
                <a:lnTo>
                  <a:pt x="34" y="7"/>
                </a:lnTo>
                <a:lnTo>
                  <a:pt x="147" y="7"/>
                </a:lnTo>
                <a:lnTo>
                  <a:pt x="147" y="53"/>
                </a:lnTo>
                <a:close/>
              </a:path>
            </a:pathLst>
          </a:custGeom>
          <a:solidFill>
            <a:srgbClr val="E0301E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</a:pPr>
            <a:endParaRPr sz="700" b="0" i="0" u="none" strike="noStrike" cap="none">
              <a:solidFill>
                <a:srgbClr val="D04A0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87354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EA1B297-86AD-45E8-9778-D282F38924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725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33F920-F1DF-8EE2-20ED-76AE86798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b="1" dirty="0">
                <a:solidFill>
                  <a:schemeClr val="bg1"/>
                </a:solidFill>
              </a:rPr>
              <a:t>Text Pre-processing</a:t>
            </a:r>
            <a:br>
              <a:rPr lang="en-IN" b="1" dirty="0">
                <a:solidFill>
                  <a:schemeClr val="bg1"/>
                </a:solidFill>
              </a:rPr>
            </a:br>
            <a:endParaRPr lang="en-IN" b="1" dirty="0">
              <a:solidFill>
                <a:schemeClr val="bg1"/>
              </a:solidFill>
            </a:endParaRPr>
          </a:p>
        </p:txBody>
      </p:sp>
      <p:grpSp>
        <p:nvGrpSpPr>
          <p:cNvPr id="11" name="Google Shape;8942;p179">
            <a:extLst>
              <a:ext uri="{FF2B5EF4-FFF2-40B4-BE49-F238E27FC236}">
                <a16:creationId xmlns:a16="http://schemas.microsoft.com/office/drawing/2014/main" id="{700589CB-0E56-4F04-89BC-652A6334DD19}"/>
              </a:ext>
            </a:extLst>
          </p:cNvPr>
          <p:cNvGrpSpPr/>
          <p:nvPr/>
        </p:nvGrpSpPr>
        <p:grpSpPr>
          <a:xfrm>
            <a:off x="1858758" y="1853248"/>
            <a:ext cx="8032494" cy="4675371"/>
            <a:chOff x="2343346" y="1673359"/>
            <a:chExt cx="7369530" cy="3791159"/>
          </a:xfrm>
        </p:grpSpPr>
        <p:sp>
          <p:nvSpPr>
            <p:cNvPr id="14" name="Google Shape;8945;p179">
              <a:extLst>
                <a:ext uri="{FF2B5EF4-FFF2-40B4-BE49-F238E27FC236}">
                  <a16:creationId xmlns:a16="http://schemas.microsoft.com/office/drawing/2014/main" id="{D5889EF8-D6F0-435E-B66A-F667912B3193}"/>
                </a:ext>
              </a:extLst>
            </p:cNvPr>
            <p:cNvSpPr/>
            <p:nvPr/>
          </p:nvSpPr>
          <p:spPr>
            <a:xfrm>
              <a:off x="3719736" y="4833576"/>
              <a:ext cx="4769004" cy="63094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00" b="1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Heading</a:t>
              </a:r>
              <a:endParaRPr dirty="0"/>
            </a:p>
            <a:p>
              <a:pPr marL="0" marR="0" lvl="0" indent="0" algn="l" rtl="0">
                <a:spcBef>
                  <a:spcPts val="600"/>
                </a:spcBef>
                <a:spcAft>
                  <a:spcPts val="0"/>
                </a:spcAft>
                <a:buNone/>
              </a:pPr>
              <a:r>
                <a:rPr lang="en-GB" sz="1000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Text goes here goes here goes here goes here goes here goes here goes here goes here goes here goes here goes here goes here goes here goes here</a:t>
              </a:r>
              <a:endParaRPr dirty="0"/>
            </a:p>
          </p:txBody>
        </p:sp>
        <p:sp>
          <p:nvSpPr>
            <p:cNvPr id="17" name="Google Shape;8948;p179">
              <a:extLst>
                <a:ext uri="{FF2B5EF4-FFF2-40B4-BE49-F238E27FC236}">
                  <a16:creationId xmlns:a16="http://schemas.microsoft.com/office/drawing/2014/main" id="{5F786E6F-09B2-4AA4-96E7-17C0D63369C2}"/>
                </a:ext>
              </a:extLst>
            </p:cNvPr>
            <p:cNvSpPr/>
            <p:nvPr/>
          </p:nvSpPr>
          <p:spPr>
            <a:xfrm rot="5400000">
              <a:off x="2639616" y="1465572"/>
              <a:ext cx="792088" cy="1368152"/>
            </a:xfrm>
            <a:custGeom>
              <a:avLst/>
              <a:gdLst/>
              <a:ahLst/>
              <a:cxnLst/>
              <a:rect l="l" t="t" r="r" b="b"/>
              <a:pathLst>
                <a:path w="10000" h="10000" extrusionOk="0">
                  <a:moveTo>
                    <a:pt x="0" y="3323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3323"/>
                  </a:lnTo>
                  <a:close/>
                </a:path>
              </a:pathLst>
            </a:custGeom>
            <a:solidFill>
              <a:srgbClr val="F1F1F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Google Shape;8949;p179">
              <a:extLst>
                <a:ext uri="{FF2B5EF4-FFF2-40B4-BE49-F238E27FC236}">
                  <a16:creationId xmlns:a16="http://schemas.microsoft.com/office/drawing/2014/main" id="{E56F373A-36B8-49ED-B66C-9009D944C875}"/>
                </a:ext>
              </a:extLst>
            </p:cNvPr>
            <p:cNvSpPr/>
            <p:nvPr/>
          </p:nvSpPr>
          <p:spPr>
            <a:xfrm rot="-5400000">
              <a:off x="5960222" y="-1143191"/>
              <a:ext cx="936104" cy="6569204"/>
            </a:xfrm>
            <a:custGeom>
              <a:avLst/>
              <a:gdLst/>
              <a:ahLst/>
              <a:cxnLst/>
              <a:rect l="l" t="t" r="r" b="b"/>
              <a:pathLst>
                <a:path w="10000" h="10000" extrusionOk="0">
                  <a:moveTo>
                    <a:pt x="0" y="803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80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" name="Google Shape;8950;p179">
              <a:extLst>
                <a:ext uri="{FF2B5EF4-FFF2-40B4-BE49-F238E27FC236}">
                  <a16:creationId xmlns:a16="http://schemas.microsoft.com/office/drawing/2014/main" id="{42940D72-96EA-464D-AAF1-BDD771ED9FC5}"/>
                </a:ext>
              </a:extLst>
            </p:cNvPr>
            <p:cNvSpPr/>
            <p:nvPr/>
          </p:nvSpPr>
          <p:spPr>
            <a:xfrm>
              <a:off x="3719736" y="1752625"/>
              <a:ext cx="4769004" cy="63094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365760"/>
              <a:r>
                <a:rPr lang="en-GB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Clean the text data by removing any irrelevant information</a:t>
              </a:r>
            </a:p>
          </p:txBody>
        </p:sp>
        <p:sp>
          <p:nvSpPr>
            <p:cNvPr id="20" name="Google Shape;8951;p179">
              <a:extLst>
                <a:ext uri="{FF2B5EF4-FFF2-40B4-BE49-F238E27FC236}">
                  <a16:creationId xmlns:a16="http://schemas.microsoft.com/office/drawing/2014/main" id="{6ACABE56-D715-45A4-9C4E-CD13EBE9EE38}"/>
                </a:ext>
              </a:extLst>
            </p:cNvPr>
            <p:cNvSpPr/>
            <p:nvPr/>
          </p:nvSpPr>
          <p:spPr>
            <a:xfrm>
              <a:off x="2343346" y="1681294"/>
              <a:ext cx="1152128" cy="83099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4800" b="1">
                  <a:solidFill>
                    <a:schemeClr val="accent3"/>
                  </a:solidFill>
                  <a:latin typeface="Arial"/>
                  <a:ea typeface="Arial"/>
                  <a:cs typeface="Arial"/>
                  <a:sym typeface="Arial"/>
                </a:rPr>
                <a:t>01</a:t>
              </a:r>
              <a:endParaRPr sz="480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8952;p179">
              <a:extLst>
                <a:ext uri="{FF2B5EF4-FFF2-40B4-BE49-F238E27FC236}">
                  <a16:creationId xmlns:a16="http://schemas.microsoft.com/office/drawing/2014/main" id="{35EE90F0-255B-461F-B64F-D54F7E8949FA}"/>
                </a:ext>
              </a:extLst>
            </p:cNvPr>
            <p:cNvSpPr/>
            <p:nvPr/>
          </p:nvSpPr>
          <p:spPr>
            <a:xfrm>
              <a:off x="8945661" y="1835852"/>
              <a:ext cx="611119" cy="611119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" name="Google Shape;8953;p179">
              <a:extLst>
                <a:ext uri="{FF2B5EF4-FFF2-40B4-BE49-F238E27FC236}">
                  <a16:creationId xmlns:a16="http://schemas.microsoft.com/office/drawing/2014/main" id="{39CD7904-B810-4B27-8783-ECC72209D4D7}"/>
                </a:ext>
              </a:extLst>
            </p:cNvPr>
            <p:cNvSpPr/>
            <p:nvPr/>
          </p:nvSpPr>
          <p:spPr>
            <a:xfrm rot="5400000">
              <a:off x="2639616" y="2492354"/>
              <a:ext cx="792088" cy="1368152"/>
            </a:xfrm>
            <a:custGeom>
              <a:avLst/>
              <a:gdLst/>
              <a:ahLst/>
              <a:cxnLst/>
              <a:rect l="l" t="t" r="r" b="b"/>
              <a:pathLst>
                <a:path w="10000" h="10000" extrusionOk="0">
                  <a:moveTo>
                    <a:pt x="0" y="3323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3323"/>
                  </a:lnTo>
                  <a:close/>
                </a:path>
              </a:pathLst>
            </a:custGeom>
            <a:solidFill>
              <a:srgbClr val="F1F1F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" name="Google Shape;8954;p179">
              <a:extLst>
                <a:ext uri="{FF2B5EF4-FFF2-40B4-BE49-F238E27FC236}">
                  <a16:creationId xmlns:a16="http://schemas.microsoft.com/office/drawing/2014/main" id="{62BF066C-3E13-48D6-9637-710B6E0C9BE2}"/>
                </a:ext>
              </a:extLst>
            </p:cNvPr>
            <p:cNvSpPr/>
            <p:nvPr/>
          </p:nvSpPr>
          <p:spPr>
            <a:xfrm rot="-5400000">
              <a:off x="5960222" y="-116409"/>
              <a:ext cx="936104" cy="6569204"/>
            </a:xfrm>
            <a:custGeom>
              <a:avLst/>
              <a:gdLst/>
              <a:ahLst/>
              <a:cxnLst/>
              <a:rect l="l" t="t" r="r" b="b"/>
              <a:pathLst>
                <a:path w="10000" h="10000" extrusionOk="0">
                  <a:moveTo>
                    <a:pt x="0" y="803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803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" name="Google Shape;8955;p179">
              <a:extLst>
                <a:ext uri="{FF2B5EF4-FFF2-40B4-BE49-F238E27FC236}">
                  <a16:creationId xmlns:a16="http://schemas.microsoft.com/office/drawing/2014/main" id="{454DD82A-B7B7-48E3-852F-17C3C3E337FE}"/>
                </a:ext>
              </a:extLst>
            </p:cNvPr>
            <p:cNvSpPr/>
            <p:nvPr/>
          </p:nvSpPr>
          <p:spPr>
            <a:xfrm>
              <a:off x="3719736" y="2779407"/>
              <a:ext cx="4769004" cy="63094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365760"/>
              <a:r>
                <a:rPr lang="en-GB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Convert the text into lowercase to ensure case insensitivity.</a:t>
              </a:r>
            </a:p>
          </p:txBody>
        </p:sp>
        <p:sp>
          <p:nvSpPr>
            <p:cNvPr id="25" name="Google Shape;8956;p179">
              <a:extLst>
                <a:ext uri="{FF2B5EF4-FFF2-40B4-BE49-F238E27FC236}">
                  <a16:creationId xmlns:a16="http://schemas.microsoft.com/office/drawing/2014/main" id="{3311FC75-5599-4D31-933E-4BE0D4EBDC0F}"/>
                </a:ext>
              </a:extLst>
            </p:cNvPr>
            <p:cNvSpPr/>
            <p:nvPr/>
          </p:nvSpPr>
          <p:spPr>
            <a:xfrm>
              <a:off x="2343346" y="2708076"/>
              <a:ext cx="1152128" cy="83099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4800" b="1">
                  <a:solidFill>
                    <a:schemeClr val="accent5"/>
                  </a:solidFill>
                  <a:latin typeface="Arial"/>
                  <a:ea typeface="Arial"/>
                  <a:cs typeface="Arial"/>
                  <a:sym typeface="Arial"/>
                </a:rPr>
                <a:t>02</a:t>
              </a:r>
              <a:endParaRPr sz="480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" name="Google Shape;8957;p179">
              <a:extLst>
                <a:ext uri="{FF2B5EF4-FFF2-40B4-BE49-F238E27FC236}">
                  <a16:creationId xmlns:a16="http://schemas.microsoft.com/office/drawing/2014/main" id="{32DB1C91-FF17-4788-8A9E-5B087378407C}"/>
                </a:ext>
              </a:extLst>
            </p:cNvPr>
            <p:cNvSpPr/>
            <p:nvPr/>
          </p:nvSpPr>
          <p:spPr>
            <a:xfrm>
              <a:off x="8945661" y="2862634"/>
              <a:ext cx="611119" cy="611119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" name="Google Shape;8958;p179">
              <a:extLst>
                <a:ext uri="{FF2B5EF4-FFF2-40B4-BE49-F238E27FC236}">
                  <a16:creationId xmlns:a16="http://schemas.microsoft.com/office/drawing/2014/main" id="{09D0DAC5-6E58-419D-ADBC-2EECFDFBCAC0}"/>
                </a:ext>
              </a:extLst>
            </p:cNvPr>
            <p:cNvSpPr/>
            <p:nvPr/>
          </p:nvSpPr>
          <p:spPr>
            <a:xfrm rot="5400000">
              <a:off x="2639616" y="3519439"/>
              <a:ext cx="792088" cy="1368152"/>
            </a:xfrm>
            <a:custGeom>
              <a:avLst/>
              <a:gdLst/>
              <a:ahLst/>
              <a:cxnLst/>
              <a:rect l="l" t="t" r="r" b="b"/>
              <a:pathLst>
                <a:path w="10000" h="10000" extrusionOk="0">
                  <a:moveTo>
                    <a:pt x="0" y="3323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3323"/>
                  </a:lnTo>
                  <a:close/>
                </a:path>
              </a:pathLst>
            </a:custGeom>
            <a:solidFill>
              <a:srgbClr val="F1F1F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Google Shape;8959;p179">
              <a:extLst>
                <a:ext uri="{FF2B5EF4-FFF2-40B4-BE49-F238E27FC236}">
                  <a16:creationId xmlns:a16="http://schemas.microsoft.com/office/drawing/2014/main" id="{EEA39869-162B-4284-8105-A2AB698EEC8E}"/>
                </a:ext>
              </a:extLst>
            </p:cNvPr>
            <p:cNvSpPr/>
            <p:nvPr/>
          </p:nvSpPr>
          <p:spPr>
            <a:xfrm rot="-5400000">
              <a:off x="5960222" y="910676"/>
              <a:ext cx="936104" cy="6569204"/>
            </a:xfrm>
            <a:custGeom>
              <a:avLst/>
              <a:gdLst/>
              <a:ahLst/>
              <a:cxnLst/>
              <a:rect l="l" t="t" r="r" b="b"/>
              <a:pathLst>
                <a:path w="10000" h="10000" extrusionOk="0">
                  <a:moveTo>
                    <a:pt x="0" y="803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803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" name="Google Shape;8960;p179">
              <a:extLst>
                <a:ext uri="{FF2B5EF4-FFF2-40B4-BE49-F238E27FC236}">
                  <a16:creationId xmlns:a16="http://schemas.microsoft.com/office/drawing/2014/main" id="{2117DE22-4F99-46B3-8E57-305010274EF8}"/>
                </a:ext>
              </a:extLst>
            </p:cNvPr>
            <p:cNvSpPr/>
            <p:nvPr/>
          </p:nvSpPr>
          <p:spPr>
            <a:xfrm>
              <a:off x="3719736" y="3806492"/>
              <a:ext cx="4769004" cy="63094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365760"/>
              <a:r>
                <a:rPr lang="en-GB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Make use of </a:t>
              </a:r>
              <a:r>
                <a:rPr lang="en-GB" sz="14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Tf</a:t>
              </a:r>
              <a:r>
                <a:rPr lang="en-GB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-IDF vectorizer to convert the data to numerical features.</a:t>
              </a:r>
            </a:p>
          </p:txBody>
        </p:sp>
        <p:sp>
          <p:nvSpPr>
            <p:cNvPr id="30" name="Google Shape;8961;p179">
              <a:extLst>
                <a:ext uri="{FF2B5EF4-FFF2-40B4-BE49-F238E27FC236}">
                  <a16:creationId xmlns:a16="http://schemas.microsoft.com/office/drawing/2014/main" id="{7F800ABC-99CA-4F1A-AF90-9605F66A6839}"/>
                </a:ext>
              </a:extLst>
            </p:cNvPr>
            <p:cNvSpPr/>
            <p:nvPr/>
          </p:nvSpPr>
          <p:spPr>
            <a:xfrm>
              <a:off x="2343346" y="3726923"/>
              <a:ext cx="1152128" cy="83099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4800" b="1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03</a:t>
              </a:r>
              <a:endParaRPr sz="48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8962;p179">
              <a:extLst>
                <a:ext uri="{FF2B5EF4-FFF2-40B4-BE49-F238E27FC236}">
                  <a16:creationId xmlns:a16="http://schemas.microsoft.com/office/drawing/2014/main" id="{A1633558-F8FB-4D11-A291-E72A9C4AD2F7}"/>
                </a:ext>
              </a:extLst>
            </p:cNvPr>
            <p:cNvSpPr/>
            <p:nvPr/>
          </p:nvSpPr>
          <p:spPr>
            <a:xfrm>
              <a:off x="8945661" y="3889567"/>
              <a:ext cx="611119" cy="611119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" name="Google Shape;8963;p179">
              <a:extLst>
                <a:ext uri="{FF2B5EF4-FFF2-40B4-BE49-F238E27FC236}">
                  <a16:creationId xmlns:a16="http://schemas.microsoft.com/office/drawing/2014/main" id="{10F5C57B-C057-4F30-9C0B-3A14DEE9CD87}"/>
                </a:ext>
              </a:extLst>
            </p:cNvPr>
            <p:cNvSpPr/>
            <p:nvPr/>
          </p:nvSpPr>
          <p:spPr>
            <a:xfrm>
              <a:off x="9021839" y="3966526"/>
              <a:ext cx="455905" cy="457200"/>
            </a:xfrm>
            <a:custGeom>
              <a:avLst/>
              <a:gdLst/>
              <a:ahLst/>
              <a:cxnLst/>
              <a:rect l="l" t="t" r="r" b="b"/>
              <a:pathLst>
                <a:path w="704" h="706" extrusionOk="0">
                  <a:moveTo>
                    <a:pt x="0" y="0"/>
                  </a:moveTo>
                  <a:lnTo>
                    <a:pt x="0" y="706"/>
                  </a:lnTo>
                  <a:lnTo>
                    <a:pt x="704" y="706"/>
                  </a:lnTo>
                  <a:lnTo>
                    <a:pt x="704" y="0"/>
                  </a:lnTo>
                  <a:lnTo>
                    <a:pt x="0" y="0"/>
                  </a:lnTo>
                  <a:close/>
                  <a:moveTo>
                    <a:pt x="675" y="31"/>
                  </a:moveTo>
                  <a:lnTo>
                    <a:pt x="675" y="85"/>
                  </a:lnTo>
                  <a:lnTo>
                    <a:pt x="476" y="85"/>
                  </a:lnTo>
                  <a:lnTo>
                    <a:pt x="382" y="169"/>
                  </a:lnTo>
                  <a:lnTo>
                    <a:pt x="289" y="169"/>
                  </a:lnTo>
                  <a:lnTo>
                    <a:pt x="196" y="254"/>
                  </a:lnTo>
                  <a:lnTo>
                    <a:pt x="31" y="254"/>
                  </a:lnTo>
                  <a:lnTo>
                    <a:pt x="31" y="31"/>
                  </a:lnTo>
                  <a:lnTo>
                    <a:pt x="675" y="31"/>
                  </a:lnTo>
                  <a:close/>
                  <a:moveTo>
                    <a:pt x="300" y="510"/>
                  </a:moveTo>
                  <a:lnTo>
                    <a:pt x="237" y="452"/>
                  </a:lnTo>
                  <a:lnTo>
                    <a:pt x="675" y="452"/>
                  </a:lnTo>
                  <a:lnTo>
                    <a:pt x="675" y="510"/>
                  </a:lnTo>
                  <a:lnTo>
                    <a:pt x="300" y="510"/>
                  </a:lnTo>
                  <a:close/>
                  <a:moveTo>
                    <a:pt x="675" y="539"/>
                  </a:moveTo>
                  <a:lnTo>
                    <a:pt x="675" y="595"/>
                  </a:lnTo>
                  <a:lnTo>
                    <a:pt x="487" y="595"/>
                  </a:lnTo>
                  <a:lnTo>
                    <a:pt x="427" y="539"/>
                  </a:lnTo>
                  <a:lnTo>
                    <a:pt x="675" y="539"/>
                  </a:lnTo>
                  <a:close/>
                  <a:moveTo>
                    <a:pt x="31" y="423"/>
                  </a:moveTo>
                  <a:lnTo>
                    <a:pt x="31" y="368"/>
                  </a:lnTo>
                  <a:lnTo>
                    <a:pt x="675" y="368"/>
                  </a:lnTo>
                  <a:lnTo>
                    <a:pt x="675" y="423"/>
                  </a:lnTo>
                  <a:lnTo>
                    <a:pt x="31" y="423"/>
                  </a:lnTo>
                  <a:close/>
                  <a:moveTo>
                    <a:pt x="31" y="338"/>
                  </a:moveTo>
                  <a:lnTo>
                    <a:pt x="31" y="283"/>
                  </a:lnTo>
                  <a:lnTo>
                    <a:pt x="675" y="283"/>
                  </a:lnTo>
                  <a:lnTo>
                    <a:pt x="675" y="338"/>
                  </a:lnTo>
                  <a:lnTo>
                    <a:pt x="31" y="338"/>
                  </a:lnTo>
                  <a:close/>
                  <a:moveTo>
                    <a:pt x="240" y="254"/>
                  </a:moveTo>
                  <a:lnTo>
                    <a:pt x="300" y="199"/>
                  </a:lnTo>
                  <a:lnTo>
                    <a:pt x="675" y="199"/>
                  </a:lnTo>
                  <a:lnTo>
                    <a:pt x="675" y="254"/>
                  </a:lnTo>
                  <a:lnTo>
                    <a:pt x="240" y="254"/>
                  </a:lnTo>
                  <a:close/>
                  <a:moveTo>
                    <a:pt x="427" y="169"/>
                  </a:moveTo>
                  <a:lnTo>
                    <a:pt x="487" y="114"/>
                  </a:lnTo>
                  <a:lnTo>
                    <a:pt x="675" y="114"/>
                  </a:lnTo>
                  <a:lnTo>
                    <a:pt x="675" y="169"/>
                  </a:lnTo>
                  <a:lnTo>
                    <a:pt x="427" y="169"/>
                  </a:lnTo>
                  <a:close/>
                  <a:moveTo>
                    <a:pt x="31" y="675"/>
                  </a:moveTo>
                  <a:lnTo>
                    <a:pt x="31" y="452"/>
                  </a:lnTo>
                  <a:lnTo>
                    <a:pt x="192" y="452"/>
                  </a:lnTo>
                  <a:lnTo>
                    <a:pt x="289" y="539"/>
                  </a:lnTo>
                  <a:lnTo>
                    <a:pt x="382" y="539"/>
                  </a:lnTo>
                  <a:lnTo>
                    <a:pt x="476" y="624"/>
                  </a:lnTo>
                  <a:lnTo>
                    <a:pt x="675" y="624"/>
                  </a:lnTo>
                  <a:lnTo>
                    <a:pt x="675" y="675"/>
                  </a:lnTo>
                  <a:lnTo>
                    <a:pt x="31" y="675"/>
                  </a:lnTo>
                  <a:close/>
                </a:path>
              </a:pathLst>
            </a:custGeom>
            <a:solidFill>
              <a:srgbClr val="7D7D7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u="none" strike="noStrike" cap="none">
                <a:solidFill>
                  <a:srgbClr val="D04A0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33" name="Google Shape;8964;p179">
              <a:extLst>
                <a:ext uri="{FF2B5EF4-FFF2-40B4-BE49-F238E27FC236}">
                  <a16:creationId xmlns:a16="http://schemas.microsoft.com/office/drawing/2014/main" id="{EC71B46B-8554-4E36-A09E-2708609DCD8D}"/>
                </a:ext>
              </a:extLst>
            </p:cNvPr>
            <p:cNvGrpSpPr/>
            <p:nvPr/>
          </p:nvGrpSpPr>
          <p:grpSpPr>
            <a:xfrm>
              <a:off x="9021839" y="2939592"/>
              <a:ext cx="457200" cy="457200"/>
              <a:chOff x="10412004" y="3159871"/>
              <a:chExt cx="457200" cy="457200"/>
            </a:xfrm>
          </p:grpSpPr>
          <p:sp>
            <p:nvSpPr>
              <p:cNvPr id="39" name="Google Shape;8965;p179">
                <a:extLst>
                  <a:ext uri="{FF2B5EF4-FFF2-40B4-BE49-F238E27FC236}">
                    <a16:creationId xmlns:a16="http://schemas.microsoft.com/office/drawing/2014/main" id="{55156E35-6F92-45F9-94B0-5040EC822560}"/>
                  </a:ext>
                </a:extLst>
              </p:cNvPr>
              <p:cNvSpPr/>
              <p:nvPr/>
            </p:nvSpPr>
            <p:spPr>
              <a:xfrm>
                <a:off x="10826595" y="3377866"/>
                <a:ext cx="19526" cy="19526"/>
              </a:xfrm>
              <a:custGeom>
                <a:avLst/>
                <a:gdLst/>
                <a:ahLst/>
                <a:cxnLst/>
                <a:rect l="l" t="t" r="r" b="b"/>
                <a:pathLst>
                  <a:path w="19526" h="19526" extrusionOk="0">
                    <a:moveTo>
                      <a:pt x="0" y="0"/>
                    </a:moveTo>
                    <a:lnTo>
                      <a:pt x="19526" y="0"/>
                    </a:lnTo>
                    <a:lnTo>
                      <a:pt x="19526" y="19526"/>
                    </a:lnTo>
                    <a:lnTo>
                      <a:pt x="0" y="19526"/>
                    </a:lnTo>
                    <a:close/>
                  </a:path>
                </a:pathLst>
              </a:custGeom>
              <a:solidFill>
                <a:srgbClr val="DB536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8966;p179">
                <a:extLst>
                  <a:ext uri="{FF2B5EF4-FFF2-40B4-BE49-F238E27FC236}">
                    <a16:creationId xmlns:a16="http://schemas.microsoft.com/office/drawing/2014/main" id="{3C2158F4-A46D-47E7-ABCD-1C9620EAC421}"/>
                  </a:ext>
                </a:extLst>
              </p:cNvPr>
              <p:cNvSpPr/>
              <p:nvPr/>
            </p:nvSpPr>
            <p:spPr>
              <a:xfrm>
                <a:off x="10787543" y="3377866"/>
                <a:ext cx="19526" cy="19526"/>
              </a:xfrm>
              <a:custGeom>
                <a:avLst/>
                <a:gdLst/>
                <a:ahLst/>
                <a:cxnLst/>
                <a:rect l="l" t="t" r="r" b="b"/>
                <a:pathLst>
                  <a:path w="19526" h="19526" extrusionOk="0">
                    <a:moveTo>
                      <a:pt x="0" y="0"/>
                    </a:moveTo>
                    <a:lnTo>
                      <a:pt x="19526" y="0"/>
                    </a:lnTo>
                    <a:lnTo>
                      <a:pt x="19526" y="19526"/>
                    </a:lnTo>
                    <a:lnTo>
                      <a:pt x="0" y="19526"/>
                    </a:lnTo>
                    <a:close/>
                  </a:path>
                </a:pathLst>
              </a:custGeom>
              <a:solidFill>
                <a:srgbClr val="DB536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" name="Google Shape;8967;p179">
                <a:extLst>
                  <a:ext uri="{FF2B5EF4-FFF2-40B4-BE49-F238E27FC236}">
                    <a16:creationId xmlns:a16="http://schemas.microsoft.com/office/drawing/2014/main" id="{FC457528-8BE9-40C1-85AD-7D9B2B3038EC}"/>
                  </a:ext>
                </a:extLst>
              </p:cNvPr>
              <p:cNvSpPr/>
              <p:nvPr/>
            </p:nvSpPr>
            <p:spPr>
              <a:xfrm>
                <a:off x="10436070" y="3377866"/>
                <a:ext cx="19526" cy="19526"/>
              </a:xfrm>
              <a:custGeom>
                <a:avLst/>
                <a:gdLst/>
                <a:ahLst/>
                <a:cxnLst/>
                <a:rect l="l" t="t" r="r" b="b"/>
                <a:pathLst>
                  <a:path w="19526" h="19526" extrusionOk="0">
                    <a:moveTo>
                      <a:pt x="0" y="0"/>
                    </a:moveTo>
                    <a:lnTo>
                      <a:pt x="19526" y="0"/>
                    </a:lnTo>
                    <a:lnTo>
                      <a:pt x="19526" y="19526"/>
                    </a:lnTo>
                    <a:lnTo>
                      <a:pt x="0" y="19526"/>
                    </a:lnTo>
                    <a:close/>
                  </a:path>
                </a:pathLst>
              </a:custGeom>
              <a:solidFill>
                <a:srgbClr val="DB536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" name="Google Shape;8968;p179">
                <a:extLst>
                  <a:ext uri="{FF2B5EF4-FFF2-40B4-BE49-F238E27FC236}">
                    <a16:creationId xmlns:a16="http://schemas.microsoft.com/office/drawing/2014/main" id="{DC8E8382-F7B3-4182-BC37-2E683E635271}"/>
                  </a:ext>
                </a:extLst>
              </p:cNvPr>
              <p:cNvSpPr/>
              <p:nvPr/>
            </p:nvSpPr>
            <p:spPr>
              <a:xfrm>
                <a:off x="10826595" y="3486832"/>
                <a:ext cx="19526" cy="19526"/>
              </a:xfrm>
              <a:custGeom>
                <a:avLst/>
                <a:gdLst/>
                <a:ahLst/>
                <a:cxnLst/>
                <a:rect l="l" t="t" r="r" b="b"/>
                <a:pathLst>
                  <a:path w="19526" h="19526" extrusionOk="0">
                    <a:moveTo>
                      <a:pt x="0" y="0"/>
                    </a:moveTo>
                    <a:lnTo>
                      <a:pt x="19526" y="0"/>
                    </a:lnTo>
                    <a:lnTo>
                      <a:pt x="19526" y="19526"/>
                    </a:lnTo>
                    <a:lnTo>
                      <a:pt x="0" y="19526"/>
                    </a:lnTo>
                    <a:close/>
                  </a:path>
                </a:pathLst>
              </a:custGeom>
              <a:solidFill>
                <a:srgbClr val="DB536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8969;p179">
                <a:extLst>
                  <a:ext uri="{FF2B5EF4-FFF2-40B4-BE49-F238E27FC236}">
                    <a16:creationId xmlns:a16="http://schemas.microsoft.com/office/drawing/2014/main" id="{89C7D1D2-A145-46C6-B167-52D2E171C46F}"/>
                  </a:ext>
                </a:extLst>
              </p:cNvPr>
              <p:cNvSpPr/>
              <p:nvPr/>
            </p:nvSpPr>
            <p:spPr>
              <a:xfrm>
                <a:off x="10787543" y="3486832"/>
                <a:ext cx="19526" cy="19526"/>
              </a:xfrm>
              <a:custGeom>
                <a:avLst/>
                <a:gdLst/>
                <a:ahLst/>
                <a:cxnLst/>
                <a:rect l="l" t="t" r="r" b="b"/>
                <a:pathLst>
                  <a:path w="19526" h="19526" extrusionOk="0">
                    <a:moveTo>
                      <a:pt x="0" y="0"/>
                    </a:moveTo>
                    <a:lnTo>
                      <a:pt x="19526" y="0"/>
                    </a:lnTo>
                    <a:lnTo>
                      <a:pt x="19526" y="19526"/>
                    </a:lnTo>
                    <a:lnTo>
                      <a:pt x="0" y="19526"/>
                    </a:lnTo>
                    <a:close/>
                  </a:path>
                </a:pathLst>
              </a:custGeom>
              <a:solidFill>
                <a:srgbClr val="DB536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" name="Google Shape;8970;p179">
                <a:extLst>
                  <a:ext uri="{FF2B5EF4-FFF2-40B4-BE49-F238E27FC236}">
                    <a16:creationId xmlns:a16="http://schemas.microsoft.com/office/drawing/2014/main" id="{6A1B2331-1ED2-4DEC-B34D-6B17D0D5E3D8}"/>
                  </a:ext>
                </a:extLst>
              </p:cNvPr>
              <p:cNvSpPr/>
              <p:nvPr/>
            </p:nvSpPr>
            <p:spPr>
              <a:xfrm>
                <a:off x="10436070" y="3486832"/>
                <a:ext cx="19526" cy="19526"/>
              </a:xfrm>
              <a:custGeom>
                <a:avLst/>
                <a:gdLst/>
                <a:ahLst/>
                <a:cxnLst/>
                <a:rect l="l" t="t" r="r" b="b"/>
                <a:pathLst>
                  <a:path w="19526" h="19526" extrusionOk="0">
                    <a:moveTo>
                      <a:pt x="0" y="0"/>
                    </a:moveTo>
                    <a:lnTo>
                      <a:pt x="19526" y="0"/>
                    </a:lnTo>
                    <a:lnTo>
                      <a:pt x="19526" y="19526"/>
                    </a:lnTo>
                    <a:lnTo>
                      <a:pt x="0" y="19526"/>
                    </a:lnTo>
                    <a:close/>
                  </a:path>
                </a:pathLst>
              </a:custGeom>
              <a:solidFill>
                <a:srgbClr val="DB536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8971;p179">
                <a:extLst>
                  <a:ext uri="{FF2B5EF4-FFF2-40B4-BE49-F238E27FC236}">
                    <a16:creationId xmlns:a16="http://schemas.microsoft.com/office/drawing/2014/main" id="{EF7B7EE8-E779-4468-95BF-1E6E0D95FF4D}"/>
                  </a:ext>
                </a:extLst>
              </p:cNvPr>
              <p:cNvSpPr/>
              <p:nvPr/>
            </p:nvSpPr>
            <p:spPr>
              <a:xfrm>
                <a:off x="10412004" y="3159871"/>
                <a:ext cx="457200" cy="457200"/>
              </a:xfrm>
              <a:custGeom>
                <a:avLst/>
                <a:gdLst/>
                <a:ahLst/>
                <a:cxnLst/>
                <a:rect l="l" t="t" r="r" b="b"/>
                <a:pathLst>
                  <a:path w="457200" h="457200" extrusionOk="0">
                    <a:moveTo>
                      <a:pt x="0" y="0"/>
                    </a:moveTo>
                    <a:lnTo>
                      <a:pt x="0" y="457200"/>
                    </a:lnTo>
                    <a:lnTo>
                      <a:pt x="457200" y="457200"/>
                    </a:lnTo>
                    <a:lnTo>
                      <a:pt x="457200" y="0"/>
                    </a:lnTo>
                    <a:close/>
                    <a:moveTo>
                      <a:pt x="437674" y="437674"/>
                    </a:moveTo>
                    <a:lnTo>
                      <a:pt x="357156" y="437674"/>
                    </a:lnTo>
                    <a:lnTo>
                      <a:pt x="357156" y="398812"/>
                    </a:lnTo>
                    <a:lnTo>
                      <a:pt x="375476" y="417132"/>
                    </a:lnTo>
                    <a:lnTo>
                      <a:pt x="389287" y="403320"/>
                    </a:lnTo>
                    <a:lnTo>
                      <a:pt x="348012" y="362045"/>
                    </a:lnTo>
                    <a:lnTo>
                      <a:pt x="305499" y="404336"/>
                    </a:lnTo>
                    <a:lnTo>
                      <a:pt x="319310" y="418148"/>
                    </a:lnTo>
                    <a:lnTo>
                      <a:pt x="337630" y="399828"/>
                    </a:lnTo>
                    <a:lnTo>
                      <a:pt x="337630" y="437674"/>
                    </a:lnTo>
                    <a:lnTo>
                      <a:pt x="240221" y="437674"/>
                    </a:lnTo>
                    <a:lnTo>
                      <a:pt x="240221" y="173419"/>
                    </a:lnTo>
                    <a:lnTo>
                      <a:pt x="257175" y="190500"/>
                    </a:lnTo>
                    <a:lnTo>
                      <a:pt x="270986" y="176689"/>
                    </a:lnTo>
                    <a:lnTo>
                      <a:pt x="229711" y="135414"/>
                    </a:lnTo>
                    <a:lnTo>
                      <a:pt x="187325" y="177800"/>
                    </a:lnTo>
                    <a:lnTo>
                      <a:pt x="201136" y="191611"/>
                    </a:lnTo>
                    <a:lnTo>
                      <a:pt x="220758" y="171990"/>
                    </a:lnTo>
                    <a:lnTo>
                      <a:pt x="220758" y="437832"/>
                    </a:lnTo>
                    <a:lnTo>
                      <a:pt x="120650" y="437832"/>
                    </a:lnTo>
                    <a:lnTo>
                      <a:pt x="120650" y="293878"/>
                    </a:lnTo>
                    <a:lnTo>
                      <a:pt x="139002" y="312198"/>
                    </a:lnTo>
                    <a:lnTo>
                      <a:pt x="152813" y="298450"/>
                    </a:lnTo>
                    <a:lnTo>
                      <a:pt x="111538" y="257175"/>
                    </a:lnTo>
                    <a:lnTo>
                      <a:pt x="69025" y="299434"/>
                    </a:lnTo>
                    <a:lnTo>
                      <a:pt x="82836" y="313246"/>
                    </a:lnTo>
                    <a:lnTo>
                      <a:pt x="101156" y="294894"/>
                    </a:lnTo>
                    <a:lnTo>
                      <a:pt x="101156" y="437769"/>
                    </a:lnTo>
                    <a:lnTo>
                      <a:pt x="19526" y="437769"/>
                    </a:lnTo>
                    <a:lnTo>
                      <a:pt x="19526" y="128556"/>
                    </a:lnTo>
                    <a:lnTo>
                      <a:pt x="437674" y="128556"/>
                    </a:lnTo>
                    <a:close/>
                    <a:moveTo>
                      <a:pt x="437674" y="109030"/>
                    </a:moveTo>
                    <a:lnTo>
                      <a:pt x="19526" y="109030"/>
                    </a:lnTo>
                    <a:lnTo>
                      <a:pt x="19526" y="19526"/>
                    </a:lnTo>
                    <a:lnTo>
                      <a:pt x="437674" y="19526"/>
                    </a:lnTo>
                    <a:close/>
                  </a:path>
                </a:pathLst>
              </a:custGeom>
              <a:solidFill>
                <a:srgbClr val="DB536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6" name="Google Shape;8972;p179">
                <a:extLst>
                  <a:ext uri="{FF2B5EF4-FFF2-40B4-BE49-F238E27FC236}">
                    <a16:creationId xmlns:a16="http://schemas.microsoft.com/office/drawing/2014/main" id="{25A389D7-F09B-4706-BD56-41BC2A0A6589}"/>
                  </a:ext>
                </a:extLst>
              </p:cNvPr>
              <p:cNvSpPr/>
              <p:nvPr/>
            </p:nvSpPr>
            <p:spPr>
              <a:xfrm>
                <a:off x="10748490" y="3377866"/>
                <a:ext cx="19526" cy="19526"/>
              </a:xfrm>
              <a:custGeom>
                <a:avLst/>
                <a:gdLst/>
                <a:ahLst/>
                <a:cxnLst/>
                <a:rect l="l" t="t" r="r" b="b"/>
                <a:pathLst>
                  <a:path w="19526" h="19526" extrusionOk="0">
                    <a:moveTo>
                      <a:pt x="0" y="0"/>
                    </a:moveTo>
                    <a:lnTo>
                      <a:pt x="19526" y="0"/>
                    </a:lnTo>
                    <a:lnTo>
                      <a:pt x="19526" y="19526"/>
                    </a:lnTo>
                    <a:lnTo>
                      <a:pt x="0" y="19526"/>
                    </a:lnTo>
                    <a:close/>
                  </a:path>
                </a:pathLst>
              </a:custGeom>
              <a:solidFill>
                <a:srgbClr val="DB536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7" name="Google Shape;8973;p179">
                <a:extLst>
                  <a:ext uri="{FF2B5EF4-FFF2-40B4-BE49-F238E27FC236}">
                    <a16:creationId xmlns:a16="http://schemas.microsoft.com/office/drawing/2014/main" id="{4C9B97EB-A4EA-4718-8ACD-AF0C56D6160C}"/>
                  </a:ext>
                </a:extLst>
              </p:cNvPr>
              <p:cNvSpPr/>
              <p:nvPr/>
            </p:nvSpPr>
            <p:spPr>
              <a:xfrm>
                <a:off x="10709438" y="3377866"/>
                <a:ext cx="19526" cy="19526"/>
              </a:xfrm>
              <a:custGeom>
                <a:avLst/>
                <a:gdLst/>
                <a:ahLst/>
                <a:cxnLst/>
                <a:rect l="l" t="t" r="r" b="b"/>
                <a:pathLst>
                  <a:path w="19526" h="19526" extrusionOk="0">
                    <a:moveTo>
                      <a:pt x="0" y="0"/>
                    </a:moveTo>
                    <a:lnTo>
                      <a:pt x="19526" y="0"/>
                    </a:lnTo>
                    <a:lnTo>
                      <a:pt x="19526" y="19526"/>
                    </a:lnTo>
                    <a:lnTo>
                      <a:pt x="0" y="19526"/>
                    </a:lnTo>
                    <a:close/>
                  </a:path>
                </a:pathLst>
              </a:custGeom>
              <a:solidFill>
                <a:srgbClr val="DB536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" name="Google Shape;8974;p179">
                <a:extLst>
                  <a:ext uri="{FF2B5EF4-FFF2-40B4-BE49-F238E27FC236}">
                    <a16:creationId xmlns:a16="http://schemas.microsoft.com/office/drawing/2014/main" id="{1FA230C4-8DB5-4660-9727-ECB0723F2DA2}"/>
                  </a:ext>
                </a:extLst>
              </p:cNvPr>
              <p:cNvSpPr/>
              <p:nvPr/>
            </p:nvSpPr>
            <p:spPr>
              <a:xfrm>
                <a:off x="10670385" y="3377866"/>
                <a:ext cx="19526" cy="19526"/>
              </a:xfrm>
              <a:custGeom>
                <a:avLst/>
                <a:gdLst/>
                <a:ahLst/>
                <a:cxnLst/>
                <a:rect l="l" t="t" r="r" b="b"/>
                <a:pathLst>
                  <a:path w="19526" h="19526" extrusionOk="0">
                    <a:moveTo>
                      <a:pt x="0" y="0"/>
                    </a:moveTo>
                    <a:lnTo>
                      <a:pt x="19526" y="0"/>
                    </a:lnTo>
                    <a:lnTo>
                      <a:pt x="19526" y="19526"/>
                    </a:lnTo>
                    <a:lnTo>
                      <a:pt x="0" y="19526"/>
                    </a:lnTo>
                    <a:close/>
                  </a:path>
                </a:pathLst>
              </a:custGeom>
              <a:solidFill>
                <a:srgbClr val="DB536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9" name="Google Shape;8975;p179">
                <a:extLst>
                  <a:ext uri="{FF2B5EF4-FFF2-40B4-BE49-F238E27FC236}">
                    <a16:creationId xmlns:a16="http://schemas.microsoft.com/office/drawing/2014/main" id="{CA836A3B-DE1F-471A-A3C6-7B5EE106FC51}"/>
                  </a:ext>
                </a:extLst>
              </p:cNvPr>
              <p:cNvSpPr/>
              <p:nvPr/>
            </p:nvSpPr>
            <p:spPr>
              <a:xfrm>
                <a:off x="10592280" y="3377866"/>
                <a:ext cx="19526" cy="19526"/>
              </a:xfrm>
              <a:custGeom>
                <a:avLst/>
                <a:gdLst/>
                <a:ahLst/>
                <a:cxnLst/>
                <a:rect l="l" t="t" r="r" b="b"/>
                <a:pathLst>
                  <a:path w="19526" h="19526" extrusionOk="0">
                    <a:moveTo>
                      <a:pt x="0" y="0"/>
                    </a:moveTo>
                    <a:lnTo>
                      <a:pt x="19526" y="0"/>
                    </a:lnTo>
                    <a:lnTo>
                      <a:pt x="19526" y="19526"/>
                    </a:lnTo>
                    <a:lnTo>
                      <a:pt x="0" y="19526"/>
                    </a:lnTo>
                    <a:close/>
                  </a:path>
                </a:pathLst>
              </a:custGeom>
              <a:solidFill>
                <a:srgbClr val="DB536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0" name="Google Shape;8976;p179">
                <a:extLst>
                  <a:ext uri="{FF2B5EF4-FFF2-40B4-BE49-F238E27FC236}">
                    <a16:creationId xmlns:a16="http://schemas.microsoft.com/office/drawing/2014/main" id="{5472A2D5-0C18-4A08-9F11-831D7F2ED2E9}"/>
                  </a:ext>
                </a:extLst>
              </p:cNvPr>
              <p:cNvSpPr/>
              <p:nvPr/>
            </p:nvSpPr>
            <p:spPr>
              <a:xfrm>
                <a:off x="10553228" y="3377866"/>
                <a:ext cx="19526" cy="19526"/>
              </a:xfrm>
              <a:custGeom>
                <a:avLst/>
                <a:gdLst/>
                <a:ahLst/>
                <a:cxnLst/>
                <a:rect l="l" t="t" r="r" b="b"/>
                <a:pathLst>
                  <a:path w="19526" h="19526" extrusionOk="0">
                    <a:moveTo>
                      <a:pt x="0" y="0"/>
                    </a:moveTo>
                    <a:lnTo>
                      <a:pt x="19526" y="0"/>
                    </a:lnTo>
                    <a:lnTo>
                      <a:pt x="19526" y="19526"/>
                    </a:lnTo>
                    <a:lnTo>
                      <a:pt x="0" y="19526"/>
                    </a:lnTo>
                    <a:close/>
                  </a:path>
                </a:pathLst>
              </a:custGeom>
              <a:solidFill>
                <a:srgbClr val="DB536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1" name="Google Shape;8977;p179">
                <a:extLst>
                  <a:ext uri="{FF2B5EF4-FFF2-40B4-BE49-F238E27FC236}">
                    <a16:creationId xmlns:a16="http://schemas.microsoft.com/office/drawing/2014/main" id="{B57A12A2-16B4-4D7D-A311-8A13A4B7A9EC}"/>
                  </a:ext>
                </a:extLst>
              </p:cNvPr>
              <p:cNvSpPr/>
              <p:nvPr/>
            </p:nvSpPr>
            <p:spPr>
              <a:xfrm>
                <a:off x="10514175" y="3377866"/>
                <a:ext cx="19526" cy="19526"/>
              </a:xfrm>
              <a:custGeom>
                <a:avLst/>
                <a:gdLst/>
                <a:ahLst/>
                <a:cxnLst/>
                <a:rect l="l" t="t" r="r" b="b"/>
                <a:pathLst>
                  <a:path w="19526" h="19526" extrusionOk="0">
                    <a:moveTo>
                      <a:pt x="0" y="0"/>
                    </a:moveTo>
                    <a:lnTo>
                      <a:pt x="19526" y="0"/>
                    </a:lnTo>
                    <a:lnTo>
                      <a:pt x="19526" y="19526"/>
                    </a:lnTo>
                    <a:lnTo>
                      <a:pt x="0" y="19526"/>
                    </a:lnTo>
                    <a:close/>
                  </a:path>
                </a:pathLst>
              </a:custGeom>
              <a:solidFill>
                <a:srgbClr val="DB536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" name="Google Shape;8978;p179">
                <a:extLst>
                  <a:ext uri="{FF2B5EF4-FFF2-40B4-BE49-F238E27FC236}">
                    <a16:creationId xmlns:a16="http://schemas.microsoft.com/office/drawing/2014/main" id="{7185B7B9-FB99-47C5-B0B1-FD3779D570D3}"/>
                  </a:ext>
                </a:extLst>
              </p:cNvPr>
              <p:cNvSpPr/>
              <p:nvPr/>
            </p:nvSpPr>
            <p:spPr>
              <a:xfrm>
                <a:off x="10475123" y="3377866"/>
                <a:ext cx="19526" cy="19526"/>
              </a:xfrm>
              <a:custGeom>
                <a:avLst/>
                <a:gdLst/>
                <a:ahLst/>
                <a:cxnLst/>
                <a:rect l="l" t="t" r="r" b="b"/>
                <a:pathLst>
                  <a:path w="19526" h="19526" extrusionOk="0">
                    <a:moveTo>
                      <a:pt x="0" y="0"/>
                    </a:moveTo>
                    <a:lnTo>
                      <a:pt x="19526" y="0"/>
                    </a:lnTo>
                    <a:lnTo>
                      <a:pt x="19526" y="19526"/>
                    </a:lnTo>
                    <a:lnTo>
                      <a:pt x="0" y="19526"/>
                    </a:lnTo>
                    <a:close/>
                  </a:path>
                </a:pathLst>
              </a:custGeom>
              <a:solidFill>
                <a:srgbClr val="DB536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8979;p179">
                <a:extLst>
                  <a:ext uri="{FF2B5EF4-FFF2-40B4-BE49-F238E27FC236}">
                    <a16:creationId xmlns:a16="http://schemas.microsoft.com/office/drawing/2014/main" id="{8B13FB89-55EC-44F1-B5E9-02DFEB106FD3}"/>
                  </a:ext>
                </a:extLst>
              </p:cNvPr>
              <p:cNvSpPr/>
              <p:nvPr/>
            </p:nvSpPr>
            <p:spPr>
              <a:xfrm>
                <a:off x="10748490" y="3486832"/>
                <a:ext cx="19526" cy="19526"/>
              </a:xfrm>
              <a:custGeom>
                <a:avLst/>
                <a:gdLst/>
                <a:ahLst/>
                <a:cxnLst/>
                <a:rect l="l" t="t" r="r" b="b"/>
                <a:pathLst>
                  <a:path w="19526" h="19526" extrusionOk="0">
                    <a:moveTo>
                      <a:pt x="0" y="0"/>
                    </a:moveTo>
                    <a:lnTo>
                      <a:pt x="19526" y="0"/>
                    </a:lnTo>
                    <a:lnTo>
                      <a:pt x="19526" y="19526"/>
                    </a:lnTo>
                    <a:lnTo>
                      <a:pt x="0" y="19526"/>
                    </a:lnTo>
                    <a:close/>
                  </a:path>
                </a:pathLst>
              </a:custGeom>
              <a:solidFill>
                <a:srgbClr val="DB536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8980;p179">
                <a:extLst>
                  <a:ext uri="{FF2B5EF4-FFF2-40B4-BE49-F238E27FC236}">
                    <a16:creationId xmlns:a16="http://schemas.microsoft.com/office/drawing/2014/main" id="{6AFCD98C-4879-4A2B-8765-90FC4DB2962E}"/>
                  </a:ext>
                </a:extLst>
              </p:cNvPr>
              <p:cNvSpPr/>
              <p:nvPr/>
            </p:nvSpPr>
            <p:spPr>
              <a:xfrm>
                <a:off x="10709438" y="3486832"/>
                <a:ext cx="19526" cy="19526"/>
              </a:xfrm>
              <a:custGeom>
                <a:avLst/>
                <a:gdLst/>
                <a:ahLst/>
                <a:cxnLst/>
                <a:rect l="l" t="t" r="r" b="b"/>
                <a:pathLst>
                  <a:path w="19526" h="19526" extrusionOk="0">
                    <a:moveTo>
                      <a:pt x="0" y="0"/>
                    </a:moveTo>
                    <a:lnTo>
                      <a:pt x="19526" y="0"/>
                    </a:lnTo>
                    <a:lnTo>
                      <a:pt x="19526" y="19526"/>
                    </a:lnTo>
                    <a:lnTo>
                      <a:pt x="0" y="19526"/>
                    </a:lnTo>
                    <a:close/>
                  </a:path>
                </a:pathLst>
              </a:custGeom>
              <a:solidFill>
                <a:srgbClr val="DB536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8981;p179">
                <a:extLst>
                  <a:ext uri="{FF2B5EF4-FFF2-40B4-BE49-F238E27FC236}">
                    <a16:creationId xmlns:a16="http://schemas.microsoft.com/office/drawing/2014/main" id="{3693F514-C783-4847-9F93-DD351C57D55E}"/>
                  </a:ext>
                </a:extLst>
              </p:cNvPr>
              <p:cNvSpPr/>
              <p:nvPr/>
            </p:nvSpPr>
            <p:spPr>
              <a:xfrm>
                <a:off x="10670385" y="3486832"/>
                <a:ext cx="19526" cy="19526"/>
              </a:xfrm>
              <a:custGeom>
                <a:avLst/>
                <a:gdLst/>
                <a:ahLst/>
                <a:cxnLst/>
                <a:rect l="l" t="t" r="r" b="b"/>
                <a:pathLst>
                  <a:path w="19526" h="19526" extrusionOk="0">
                    <a:moveTo>
                      <a:pt x="0" y="0"/>
                    </a:moveTo>
                    <a:lnTo>
                      <a:pt x="19526" y="0"/>
                    </a:lnTo>
                    <a:lnTo>
                      <a:pt x="19526" y="19526"/>
                    </a:lnTo>
                    <a:lnTo>
                      <a:pt x="0" y="19526"/>
                    </a:lnTo>
                    <a:close/>
                  </a:path>
                </a:pathLst>
              </a:custGeom>
              <a:solidFill>
                <a:srgbClr val="DB536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8982;p179">
                <a:extLst>
                  <a:ext uri="{FF2B5EF4-FFF2-40B4-BE49-F238E27FC236}">
                    <a16:creationId xmlns:a16="http://schemas.microsoft.com/office/drawing/2014/main" id="{4043894A-080B-4F02-9F85-F7CE5A7F5F19}"/>
                  </a:ext>
                </a:extLst>
              </p:cNvPr>
              <p:cNvSpPr/>
              <p:nvPr/>
            </p:nvSpPr>
            <p:spPr>
              <a:xfrm>
                <a:off x="10592280" y="3486832"/>
                <a:ext cx="19526" cy="19526"/>
              </a:xfrm>
              <a:custGeom>
                <a:avLst/>
                <a:gdLst/>
                <a:ahLst/>
                <a:cxnLst/>
                <a:rect l="l" t="t" r="r" b="b"/>
                <a:pathLst>
                  <a:path w="19526" h="19526" extrusionOk="0">
                    <a:moveTo>
                      <a:pt x="0" y="0"/>
                    </a:moveTo>
                    <a:lnTo>
                      <a:pt x="19526" y="0"/>
                    </a:lnTo>
                    <a:lnTo>
                      <a:pt x="19526" y="19526"/>
                    </a:lnTo>
                    <a:lnTo>
                      <a:pt x="0" y="19526"/>
                    </a:lnTo>
                    <a:close/>
                  </a:path>
                </a:pathLst>
              </a:custGeom>
              <a:solidFill>
                <a:srgbClr val="DB536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8983;p179">
                <a:extLst>
                  <a:ext uri="{FF2B5EF4-FFF2-40B4-BE49-F238E27FC236}">
                    <a16:creationId xmlns:a16="http://schemas.microsoft.com/office/drawing/2014/main" id="{A41E33C6-80D3-4D04-986F-E4D830D0441D}"/>
                  </a:ext>
                </a:extLst>
              </p:cNvPr>
              <p:cNvSpPr/>
              <p:nvPr/>
            </p:nvSpPr>
            <p:spPr>
              <a:xfrm>
                <a:off x="10553228" y="3486832"/>
                <a:ext cx="19526" cy="19526"/>
              </a:xfrm>
              <a:custGeom>
                <a:avLst/>
                <a:gdLst/>
                <a:ahLst/>
                <a:cxnLst/>
                <a:rect l="l" t="t" r="r" b="b"/>
                <a:pathLst>
                  <a:path w="19526" h="19526" extrusionOk="0">
                    <a:moveTo>
                      <a:pt x="0" y="0"/>
                    </a:moveTo>
                    <a:lnTo>
                      <a:pt x="19526" y="0"/>
                    </a:lnTo>
                    <a:lnTo>
                      <a:pt x="19526" y="19526"/>
                    </a:lnTo>
                    <a:lnTo>
                      <a:pt x="0" y="19526"/>
                    </a:lnTo>
                    <a:close/>
                  </a:path>
                </a:pathLst>
              </a:custGeom>
              <a:solidFill>
                <a:srgbClr val="DB536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8984;p179">
                <a:extLst>
                  <a:ext uri="{FF2B5EF4-FFF2-40B4-BE49-F238E27FC236}">
                    <a16:creationId xmlns:a16="http://schemas.microsoft.com/office/drawing/2014/main" id="{0288D206-65C1-4290-BEA6-51630BA9410A}"/>
                  </a:ext>
                </a:extLst>
              </p:cNvPr>
              <p:cNvSpPr/>
              <p:nvPr/>
            </p:nvSpPr>
            <p:spPr>
              <a:xfrm>
                <a:off x="10475123" y="3486832"/>
                <a:ext cx="19526" cy="19526"/>
              </a:xfrm>
              <a:custGeom>
                <a:avLst/>
                <a:gdLst/>
                <a:ahLst/>
                <a:cxnLst/>
                <a:rect l="l" t="t" r="r" b="b"/>
                <a:pathLst>
                  <a:path w="19526" h="19526" extrusionOk="0">
                    <a:moveTo>
                      <a:pt x="0" y="0"/>
                    </a:moveTo>
                    <a:lnTo>
                      <a:pt x="19526" y="0"/>
                    </a:lnTo>
                    <a:lnTo>
                      <a:pt x="19526" y="19526"/>
                    </a:lnTo>
                    <a:lnTo>
                      <a:pt x="0" y="19526"/>
                    </a:lnTo>
                    <a:close/>
                  </a:path>
                </a:pathLst>
              </a:custGeom>
              <a:solidFill>
                <a:srgbClr val="DB536A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34" name="Google Shape;8985;p179">
              <a:extLst>
                <a:ext uri="{FF2B5EF4-FFF2-40B4-BE49-F238E27FC236}">
                  <a16:creationId xmlns:a16="http://schemas.microsoft.com/office/drawing/2014/main" id="{E2410F0D-9B8D-4D6E-8371-9956EE7910F9}"/>
                </a:ext>
              </a:extLst>
            </p:cNvPr>
            <p:cNvGrpSpPr/>
            <p:nvPr/>
          </p:nvGrpSpPr>
          <p:grpSpPr>
            <a:xfrm>
              <a:off x="9022620" y="1912810"/>
              <a:ext cx="457200" cy="457200"/>
              <a:chOff x="2538910" y="4634724"/>
              <a:chExt cx="457200" cy="457200"/>
            </a:xfrm>
          </p:grpSpPr>
          <p:sp>
            <p:nvSpPr>
              <p:cNvPr id="36" name="Google Shape;8986;p179">
                <a:extLst>
                  <a:ext uri="{FF2B5EF4-FFF2-40B4-BE49-F238E27FC236}">
                    <a16:creationId xmlns:a16="http://schemas.microsoft.com/office/drawing/2014/main" id="{93C2E40A-DFFC-4809-8BE7-30201CD719CD}"/>
                  </a:ext>
                </a:extLst>
              </p:cNvPr>
              <p:cNvSpPr/>
              <p:nvPr/>
            </p:nvSpPr>
            <p:spPr>
              <a:xfrm>
                <a:off x="2538910" y="4634724"/>
                <a:ext cx="457200" cy="457200"/>
              </a:xfrm>
              <a:custGeom>
                <a:avLst/>
                <a:gdLst/>
                <a:ahLst/>
                <a:cxnLst/>
                <a:rect l="l" t="t" r="r" b="b"/>
                <a:pathLst>
                  <a:path w="457200" h="457200" extrusionOk="0">
                    <a:moveTo>
                      <a:pt x="0" y="0"/>
                    </a:moveTo>
                    <a:lnTo>
                      <a:pt x="0" y="457200"/>
                    </a:lnTo>
                    <a:lnTo>
                      <a:pt x="457200" y="457200"/>
                    </a:lnTo>
                    <a:lnTo>
                      <a:pt x="457200" y="0"/>
                    </a:lnTo>
                    <a:close/>
                    <a:moveTo>
                      <a:pt x="437706" y="437706"/>
                    </a:moveTo>
                    <a:lnTo>
                      <a:pt x="19495" y="437706"/>
                    </a:lnTo>
                    <a:lnTo>
                      <a:pt x="19495" y="19495"/>
                    </a:lnTo>
                    <a:lnTo>
                      <a:pt x="437706" y="19495"/>
                    </a:lnTo>
                    <a:close/>
                  </a:path>
                </a:pathLst>
              </a:cu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" name="Google Shape;8987;p179">
                <a:extLst>
                  <a:ext uri="{FF2B5EF4-FFF2-40B4-BE49-F238E27FC236}">
                    <a16:creationId xmlns:a16="http://schemas.microsoft.com/office/drawing/2014/main" id="{28650793-F049-4279-94BC-DFA251142A08}"/>
                  </a:ext>
                </a:extLst>
              </p:cNvPr>
              <p:cNvSpPr/>
              <p:nvPr/>
            </p:nvSpPr>
            <p:spPr>
              <a:xfrm>
                <a:off x="2712709" y="4812904"/>
                <a:ext cx="110204" cy="116520"/>
              </a:xfrm>
              <a:custGeom>
                <a:avLst/>
                <a:gdLst/>
                <a:ahLst/>
                <a:cxnLst/>
                <a:rect l="l" t="t" r="r" b="b"/>
                <a:pathLst>
                  <a:path w="110204" h="116520" extrusionOk="0">
                    <a:moveTo>
                      <a:pt x="7175" y="86392"/>
                    </a:moveTo>
                    <a:cubicBezTo>
                      <a:pt x="19809" y="112791"/>
                      <a:pt x="51450" y="123950"/>
                      <a:pt x="77849" y="111317"/>
                    </a:cubicBezTo>
                    <a:cubicBezTo>
                      <a:pt x="88759" y="106097"/>
                      <a:pt x="97554" y="97301"/>
                      <a:pt x="102775" y="86392"/>
                    </a:cubicBezTo>
                    <a:lnTo>
                      <a:pt x="102775" y="86392"/>
                    </a:lnTo>
                    <a:lnTo>
                      <a:pt x="83503" y="77153"/>
                    </a:lnTo>
                    <a:cubicBezTo>
                      <a:pt x="75859" y="92934"/>
                      <a:pt x="56870" y="99531"/>
                      <a:pt x="41088" y="91888"/>
                    </a:cubicBezTo>
                    <a:cubicBezTo>
                      <a:pt x="34658" y="88774"/>
                      <a:pt x="29467" y="83582"/>
                      <a:pt x="26352" y="77153"/>
                    </a:cubicBezTo>
                    <a:close/>
                    <a:moveTo>
                      <a:pt x="94329" y="0"/>
                    </a:moveTo>
                    <a:cubicBezTo>
                      <a:pt x="85562" y="0"/>
                      <a:pt x="78454" y="7108"/>
                      <a:pt x="78454" y="15875"/>
                    </a:cubicBezTo>
                    <a:cubicBezTo>
                      <a:pt x="78454" y="24642"/>
                      <a:pt x="85562" y="31750"/>
                      <a:pt x="94329" y="31750"/>
                    </a:cubicBezTo>
                    <a:cubicBezTo>
                      <a:pt x="103097" y="31750"/>
                      <a:pt x="110204" y="24642"/>
                      <a:pt x="110204" y="15875"/>
                    </a:cubicBezTo>
                    <a:cubicBezTo>
                      <a:pt x="110204" y="7108"/>
                      <a:pt x="103097" y="0"/>
                      <a:pt x="94329" y="0"/>
                    </a:cubicBezTo>
                    <a:close/>
                    <a:moveTo>
                      <a:pt x="15875" y="0"/>
                    </a:moveTo>
                    <a:cubicBezTo>
                      <a:pt x="7108" y="0"/>
                      <a:pt x="0" y="7108"/>
                      <a:pt x="0" y="15875"/>
                    </a:cubicBezTo>
                    <a:cubicBezTo>
                      <a:pt x="0" y="24642"/>
                      <a:pt x="7108" y="31750"/>
                      <a:pt x="15875" y="31750"/>
                    </a:cubicBezTo>
                    <a:cubicBezTo>
                      <a:pt x="24642" y="31750"/>
                      <a:pt x="31750" y="24642"/>
                      <a:pt x="31750" y="15875"/>
                    </a:cubicBezTo>
                    <a:cubicBezTo>
                      <a:pt x="31750" y="7108"/>
                      <a:pt x="24642" y="0"/>
                      <a:pt x="15875" y="0"/>
                    </a:cubicBezTo>
                    <a:close/>
                  </a:path>
                </a:pathLst>
              </a:cu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" name="Google Shape;8988;p179">
                <a:extLst>
                  <a:ext uri="{FF2B5EF4-FFF2-40B4-BE49-F238E27FC236}">
                    <a16:creationId xmlns:a16="http://schemas.microsoft.com/office/drawing/2014/main" id="{F6D33713-1EF8-4AB5-A6DB-F1740F265F7D}"/>
                  </a:ext>
                </a:extLst>
              </p:cNvPr>
              <p:cNvSpPr/>
              <p:nvPr/>
            </p:nvSpPr>
            <p:spPr>
              <a:xfrm>
                <a:off x="2619237" y="4691874"/>
                <a:ext cx="298291" cy="337375"/>
              </a:xfrm>
              <a:custGeom>
                <a:avLst/>
                <a:gdLst/>
                <a:ahLst/>
                <a:cxnLst/>
                <a:rect l="l" t="t" r="r" b="b"/>
                <a:pathLst>
                  <a:path w="298291" h="337375" extrusionOk="0">
                    <a:moveTo>
                      <a:pt x="284353" y="122746"/>
                    </a:moveTo>
                    <a:lnTo>
                      <a:pt x="271431" y="122746"/>
                    </a:lnTo>
                    <a:lnTo>
                      <a:pt x="271431" y="116396"/>
                    </a:lnTo>
                    <a:cubicBezTo>
                      <a:pt x="271240" y="52192"/>
                      <a:pt x="219239" y="192"/>
                      <a:pt x="155035" y="0"/>
                    </a:cubicBezTo>
                    <a:lnTo>
                      <a:pt x="142113" y="0"/>
                    </a:lnTo>
                    <a:cubicBezTo>
                      <a:pt x="77946" y="191"/>
                      <a:pt x="25962" y="52133"/>
                      <a:pt x="25718" y="116300"/>
                    </a:cubicBezTo>
                    <a:lnTo>
                      <a:pt x="25718" y="122650"/>
                    </a:lnTo>
                    <a:lnTo>
                      <a:pt x="0" y="122650"/>
                    </a:lnTo>
                    <a:lnTo>
                      <a:pt x="0" y="215678"/>
                    </a:lnTo>
                    <a:lnTo>
                      <a:pt x="47181" y="215678"/>
                    </a:lnTo>
                    <a:lnTo>
                      <a:pt x="47181" y="116300"/>
                    </a:lnTo>
                    <a:cubicBezTo>
                      <a:pt x="47337" y="63931"/>
                      <a:pt x="89743" y="21510"/>
                      <a:pt x="142113" y="21336"/>
                    </a:cubicBezTo>
                    <a:lnTo>
                      <a:pt x="155035" y="21336"/>
                    </a:lnTo>
                    <a:cubicBezTo>
                      <a:pt x="207368" y="21563"/>
                      <a:pt x="249717" y="63967"/>
                      <a:pt x="249873" y="116300"/>
                    </a:cubicBezTo>
                    <a:lnTo>
                      <a:pt x="249873" y="204343"/>
                    </a:lnTo>
                    <a:cubicBezTo>
                      <a:pt x="249901" y="229526"/>
                      <a:pt x="239849" y="253672"/>
                      <a:pt x="221964" y="271399"/>
                    </a:cubicBezTo>
                    <a:cubicBezTo>
                      <a:pt x="208197" y="285115"/>
                      <a:pt x="190576" y="294307"/>
                      <a:pt x="171450" y="297752"/>
                    </a:cubicBezTo>
                    <a:lnTo>
                      <a:pt x="171450" y="289243"/>
                    </a:lnTo>
                    <a:lnTo>
                      <a:pt x="123381" y="289243"/>
                    </a:lnTo>
                    <a:lnTo>
                      <a:pt x="123381" y="337376"/>
                    </a:lnTo>
                    <a:lnTo>
                      <a:pt x="171545" y="337376"/>
                    </a:lnTo>
                    <a:lnTo>
                      <a:pt x="171545" y="320040"/>
                    </a:lnTo>
                    <a:lnTo>
                      <a:pt x="171545" y="320040"/>
                    </a:lnTo>
                    <a:lnTo>
                      <a:pt x="171545" y="319532"/>
                    </a:lnTo>
                    <a:lnTo>
                      <a:pt x="172053" y="319532"/>
                    </a:lnTo>
                    <a:cubicBezTo>
                      <a:pt x="224508" y="311525"/>
                      <a:pt x="264995" y="269199"/>
                      <a:pt x="270669" y="216440"/>
                    </a:cubicBezTo>
                    <a:lnTo>
                      <a:pt x="270669" y="215741"/>
                    </a:lnTo>
                    <a:lnTo>
                      <a:pt x="298291" y="215741"/>
                    </a:lnTo>
                    <a:lnTo>
                      <a:pt x="298291" y="122746"/>
                    </a:lnTo>
                    <a:close/>
                  </a:path>
                </a:pathLst>
              </a:cu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u="none" strike="noStrike" cap="none">
                  <a:solidFill>
                    <a:srgbClr val="D04A02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564891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F3E841-7EAF-49E0-A8FE-4D1DD59FDD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1954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box with a box and a line&#10;&#10;Description automatically generated with medium confidence">
            <a:extLst>
              <a:ext uri="{FF2B5EF4-FFF2-40B4-BE49-F238E27FC236}">
                <a16:creationId xmlns:a16="http://schemas.microsoft.com/office/drawing/2014/main" id="{AA38CEFB-CD06-4681-B649-E6924B9022A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623651" y="3113726"/>
            <a:ext cx="1909969" cy="10731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1C1E862-A59B-C67C-85B9-8A6232EA4D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b="1" dirty="0">
                <a:solidFill>
                  <a:schemeClr val="bg1"/>
                </a:solidFill>
              </a:rPr>
              <a:t>Feature Extraction</a:t>
            </a:r>
          </a:p>
        </p:txBody>
      </p:sp>
      <p:grpSp>
        <p:nvGrpSpPr>
          <p:cNvPr id="13" name="Google Shape;9156;p183">
            <a:extLst>
              <a:ext uri="{FF2B5EF4-FFF2-40B4-BE49-F238E27FC236}">
                <a16:creationId xmlns:a16="http://schemas.microsoft.com/office/drawing/2014/main" id="{90AC1EFE-7156-463B-9B62-98700EADFDC7}"/>
              </a:ext>
            </a:extLst>
          </p:cNvPr>
          <p:cNvGrpSpPr/>
          <p:nvPr/>
        </p:nvGrpSpPr>
        <p:grpSpPr>
          <a:xfrm>
            <a:off x="-719076" y="2241965"/>
            <a:ext cx="8976850" cy="4513785"/>
            <a:chOff x="4004193" y="1424945"/>
            <a:chExt cx="7357677" cy="3871574"/>
          </a:xfrm>
        </p:grpSpPr>
        <p:sp>
          <p:nvSpPr>
            <p:cNvPr id="16" name="Google Shape;9159;p183">
              <a:extLst>
                <a:ext uri="{FF2B5EF4-FFF2-40B4-BE49-F238E27FC236}">
                  <a16:creationId xmlns:a16="http://schemas.microsoft.com/office/drawing/2014/main" id="{A430DB8A-37D6-4FFB-8124-E573DA7EF2A4}"/>
                </a:ext>
              </a:extLst>
            </p:cNvPr>
            <p:cNvSpPr/>
            <p:nvPr/>
          </p:nvSpPr>
          <p:spPr>
            <a:xfrm flipH="1">
              <a:off x="6328591" y="2676909"/>
              <a:ext cx="5030754" cy="1135109"/>
            </a:xfrm>
            <a:prstGeom prst="homePlate">
              <a:avLst>
                <a:gd name="adj" fmla="val 0"/>
              </a:avLst>
            </a:prstGeom>
            <a:solidFill>
              <a:schemeClr val="accent2"/>
            </a:solidFill>
            <a:ln w="12700" cap="sq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" name="Google Shape;9160;p183">
              <a:extLst>
                <a:ext uri="{FF2B5EF4-FFF2-40B4-BE49-F238E27FC236}">
                  <a16:creationId xmlns:a16="http://schemas.microsoft.com/office/drawing/2014/main" id="{DA074ED7-261C-4935-8014-2A155368DA1F}"/>
                </a:ext>
              </a:extLst>
            </p:cNvPr>
            <p:cNvSpPr/>
            <p:nvPr/>
          </p:nvSpPr>
          <p:spPr>
            <a:xfrm flipH="1">
              <a:off x="7061393" y="1424946"/>
              <a:ext cx="4300477" cy="1135109"/>
            </a:xfrm>
            <a:prstGeom prst="homePlate">
              <a:avLst>
                <a:gd name="adj" fmla="val 0"/>
              </a:avLst>
            </a:prstGeom>
            <a:solidFill>
              <a:schemeClr val="accent5"/>
            </a:solidFill>
            <a:ln w="12700" cap="sq" cmpd="sng">
              <a:solidFill>
                <a:schemeClr val="accent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Google Shape;9163;p183">
              <a:extLst>
                <a:ext uri="{FF2B5EF4-FFF2-40B4-BE49-F238E27FC236}">
                  <a16:creationId xmlns:a16="http://schemas.microsoft.com/office/drawing/2014/main" id="{C10A748C-7576-4000-A141-6B459EFD4A82}"/>
                </a:ext>
              </a:extLst>
            </p:cNvPr>
            <p:cNvSpPr/>
            <p:nvPr/>
          </p:nvSpPr>
          <p:spPr>
            <a:xfrm>
              <a:off x="6564598" y="1424945"/>
              <a:ext cx="457788" cy="1135109"/>
            </a:xfrm>
            <a:custGeom>
              <a:avLst/>
              <a:gdLst/>
              <a:ahLst/>
              <a:cxnLst/>
              <a:rect l="l" t="t" r="r" b="b"/>
              <a:pathLst>
                <a:path w="1897" h="3361" extrusionOk="0">
                  <a:moveTo>
                    <a:pt x="1897" y="0"/>
                  </a:moveTo>
                  <a:lnTo>
                    <a:pt x="1897" y="3361"/>
                  </a:lnTo>
                  <a:lnTo>
                    <a:pt x="968" y="3361"/>
                  </a:lnTo>
                  <a:lnTo>
                    <a:pt x="968" y="1161"/>
                  </a:lnTo>
                  <a:lnTo>
                    <a:pt x="911" y="1203"/>
                  </a:lnTo>
                  <a:lnTo>
                    <a:pt x="856" y="1243"/>
                  </a:lnTo>
                  <a:lnTo>
                    <a:pt x="800" y="1280"/>
                  </a:lnTo>
                  <a:lnTo>
                    <a:pt x="745" y="1316"/>
                  </a:lnTo>
                  <a:lnTo>
                    <a:pt x="690" y="1349"/>
                  </a:lnTo>
                  <a:lnTo>
                    <a:pt x="637" y="1380"/>
                  </a:lnTo>
                  <a:lnTo>
                    <a:pt x="583" y="1410"/>
                  </a:lnTo>
                  <a:lnTo>
                    <a:pt x="530" y="1437"/>
                  </a:lnTo>
                  <a:lnTo>
                    <a:pt x="475" y="1463"/>
                  </a:lnTo>
                  <a:lnTo>
                    <a:pt x="417" y="1489"/>
                  </a:lnTo>
                  <a:lnTo>
                    <a:pt x="357" y="1515"/>
                  </a:lnTo>
                  <a:lnTo>
                    <a:pt x="292" y="1540"/>
                  </a:lnTo>
                  <a:lnTo>
                    <a:pt x="224" y="1565"/>
                  </a:lnTo>
                  <a:lnTo>
                    <a:pt x="153" y="1590"/>
                  </a:lnTo>
                  <a:lnTo>
                    <a:pt x="77" y="1615"/>
                  </a:lnTo>
                  <a:lnTo>
                    <a:pt x="0" y="1639"/>
                  </a:lnTo>
                  <a:lnTo>
                    <a:pt x="0" y="891"/>
                  </a:lnTo>
                  <a:lnTo>
                    <a:pt x="58" y="871"/>
                  </a:lnTo>
                  <a:lnTo>
                    <a:pt x="114" y="851"/>
                  </a:lnTo>
                  <a:lnTo>
                    <a:pt x="168" y="832"/>
                  </a:lnTo>
                  <a:lnTo>
                    <a:pt x="222" y="811"/>
                  </a:lnTo>
                  <a:lnTo>
                    <a:pt x="273" y="790"/>
                  </a:lnTo>
                  <a:lnTo>
                    <a:pt x="323" y="768"/>
                  </a:lnTo>
                  <a:lnTo>
                    <a:pt x="371" y="746"/>
                  </a:lnTo>
                  <a:lnTo>
                    <a:pt x="417" y="724"/>
                  </a:lnTo>
                  <a:lnTo>
                    <a:pt x="462" y="700"/>
                  </a:lnTo>
                  <a:lnTo>
                    <a:pt x="505" y="677"/>
                  </a:lnTo>
                  <a:lnTo>
                    <a:pt x="547" y="653"/>
                  </a:lnTo>
                  <a:lnTo>
                    <a:pt x="587" y="629"/>
                  </a:lnTo>
                  <a:lnTo>
                    <a:pt x="626" y="604"/>
                  </a:lnTo>
                  <a:lnTo>
                    <a:pt x="662" y="578"/>
                  </a:lnTo>
                  <a:lnTo>
                    <a:pt x="697" y="553"/>
                  </a:lnTo>
                  <a:lnTo>
                    <a:pt x="730" y="526"/>
                  </a:lnTo>
                  <a:lnTo>
                    <a:pt x="761" y="499"/>
                  </a:lnTo>
                  <a:lnTo>
                    <a:pt x="793" y="472"/>
                  </a:lnTo>
                  <a:lnTo>
                    <a:pt x="823" y="442"/>
                  </a:lnTo>
                  <a:lnTo>
                    <a:pt x="852" y="413"/>
                  </a:lnTo>
                  <a:lnTo>
                    <a:pt x="882" y="383"/>
                  </a:lnTo>
                  <a:lnTo>
                    <a:pt x="909" y="353"/>
                  </a:lnTo>
                  <a:lnTo>
                    <a:pt x="936" y="320"/>
                  </a:lnTo>
                  <a:lnTo>
                    <a:pt x="961" y="288"/>
                  </a:lnTo>
                  <a:lnTo>
                    <a:pt x="986" y="255"/>
                  </a:lnTo>
                  <a:lnTo>
                    <a:pt x="1010" y="220"/>
                  </a:lnTo>
                  <a:lnTo>
                    <a:pt x="1034" y="186"/>
                  </a:lnTo>
                  <a:lnTo>
                    <a:pt x="1056" y="150"/>
                  </a:lnTo>
                  <a:lnTo>
                    <a:pt x="1078" y="114"/>
                  </a:lnTo>
                  <a:lnTo>
                    <a:pt x="1098" y="76"/>
                  </a:lnTo>
                  <a:lnTo>
                    <a:pt x="1118" y="39"/>
                  </a:lnTo>
                  <a:lnTo>
                    <a:pt x="1137" y="0"/>
                  </a:lnTo>
                  <a:lnTo>
                    <a:pt x="1897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9164;p183">
              <a:extLst>
                <a:ext uri="{FF2B5EF4-FFF2-40B4-BE49-F238E27FC236}">
                  <a16:creationId xmlns:a16="http://schemas.microsoft.com/office/drawing/2014/main" id="{2EEB58E4-C484-4A8E-89E7-43A6DF7B09DB}"/>
                </a:ext>
              </a:extLst>
            </p:cNvPr>
            <p:cNvSpPr/>
            <p:nvPr/>
          </p:nvSpPr>
          <p:spPr>
            <a:xfrm>
              <a:off x="5607746" y="2674749"/>
              <a:ext cx="665164" cy="813430"/>
            </a:xfrm>
            <a:custGeom>
              <a:avLst/>
              <a:gdLst/>
              <a:ahLst/>
              <a:cxnLst/>
              <a:rect l="l" t="t" r="r" b="b"/>
              <a:pathLst>
                <a:path w="2763" h="3361" extrusionOk="0">
                  <a:moveTo>
                    <a:pt x="2763" y="3361"/>
                  </a:moveTo>
                  <a:lnTo>
                    <a:pt x="0" y="3361"/>
                  </a:lnTo>
                  <a:lnTo>
                    <a:pt x="7" y="3310"/>
                  </a:lnTo>
                  <a:lnTo>
                    <a:pt x="14" y="3259"/>
                  </a:lnTo>
                  <a:lnTo>
                    <a:pt x="25" y="3209"/>
                  </a:lnTo>
                  <a:lnTo>
                    <a:pt x="36" y="3159"/>
                  </a:lnTo>
                  <a:lnTo>
                    <a:pt x="49" y="3110"/>
                  </a:lnTo>
                  <a:lnTo>
                    <a:pt x="63" y="3061"/>
                  </a:lnTo>
                  <a:lnTo>
                    <a:pt x="78" y="3013"/>
                  </a:lnTo>
                  <a:lnTo>
                    <a:pt x="96" y="2965"/>
                  </a:lnTo>
                  <a:lnTo>
                    <a:pt x="115" y="2917"/>
                  </a:lnTo>
                  <a:lnTo>
                    <a:pt x="135" y="2869"/>
                  </a:lnTo>
                  <a:lnTo>
                    <a:pt x="157" y="2822"/>
                  </a:lnTo>
                  <a:lnTo>
                    <a:pt x="180" y="2776"/>
                  </a:lnTo>
                  <a:lnTo>
                    <a:pt x="205" y="2729"/>
                  </a:lnTo>
                  <a:lnTo>
                    <a:pt x="231" y="2684"/>
                  </a:lnTo>
                  <a:lnTo>
                    <a:pt x="259" y="2639"/>
                  </a:lnTo>
                  <a:lnTo>
                    <a:pt x="289" y="2594"/>
                  </a:lnTo>
                  <a:lnTo>
                    <a:pt x="320" y="2548"/>
                  </a:lnTo>
                  <a:lnTo>
                    <a:pt x="355" y="2502"/>
                  </a:lnTo>
                  <a:lnTo>
                    <a:pt x="393" y="2454"/>
                  </a:lnTo>
                  <a:lnTo>
                    <a:pt x="435" y="2405"/>
                  </a:lnTo>
                  <a:lnTo>
                    <a:pt x="480" y="2356"/>
                  </a:lnTo>
                  <a:lnTo>
                    <a:pt x="528" y="2305"/>
                  </a:lnTo>
                  <a:lnTo>
                    <a:pt x="579" y="2254"/>
                  </a:lnTo>
                  <a:lnTo>
                    <a:pt x="635" y="2202"/>
                  </a:lnTo>
                  <a:lnTo>
                    <a:pt x="692" y="2147"/>
                  </a:lnTo>
                  <a:lnTo>
                    <a:pt x="754" y="2093"/>
                  </a:lnTo>
                  <a:lnTo>
                    <a:pt x="819" y="2038"/>
                  </a:lnTo>
                  <a:lnTo>
                    <a:pt x="887" y="1980"/>
                  </a:lnTo>
                  <a:lnTo>
                    <a:pt x="958" y="1923"/>
                  </a:lnTo>
                  <a:lnTo>
                    <a:pt x="1032" y="1865"/>
                  </a:lnTo>
                  <a:lnTo>
                    <a:pt x="1110" y="1805"/>
                  </a:lnTo>
                  <a:lnTo>
                    <a:pt x="1191" y="1745"/>
                  </a:lnTo>
                  <a:lnTo>
                    <a:pt x="1287" y="1671"/>
                  </a:lnTo>
                  <a:lnTo>
                    <a:pt x="1375" y="1604"/>
                  </a:lnTo>
                  <a:lnTo>
                    <a:pt x="1416" y="1571"/>
                  </a:lnTo>
                  <a:lnTo>
                    <a:pt x="1454" y="1540"/>
                  </a:lnTo>
                  <a:lnTo>
                    <a:pt x="1489" y="1510"/>
                  </a:lnTo>
                  <a:lnTo>
                    <a:pt x="1523" y="1481"/>
                  </a:lnTo>
                  <a:lnTo>
                    <a:pt x="1554" y="1452"/>
                  </a:lnTo>
                  <a:lnTo>
                    <a:pt x="1583" y="1425"/>
                  </a:lnTo>
                  <a:lnTo>
                    <a:pt x="1611" y="1400"/>
                  </a:lnTo>
                  <a:lnTo>
                    <a:pt x="1635" y="1375"/>
                  </a:lnTo>
                  <a:lnTo>
                    <a:pt x="1657" y="1352"/>
                  </a:lnTo>
                  <a:lnTo>
                    <a:pt x="1677" y="1330"/>
                  </a:lnTo>
                  <a:lnTo>
                    <a:pt x="1694" y="1308"/>
                  </a:lnTo>
                  <a:lnTo>
                    <a:pt x="1710" y="1289"/>
                  </a:lnTo>
                  <a:lnTo>
                    <a:pt x="1724" y="1270"/>
                  </a:lnTo>
                  <a:lnTo>
                    <a:pt x="1737" y="1250"/>
                  </a:lnTo>
                  <a:lnTo>
                    <a:pt x="1749" y="1231"/>
                  </a:lnTo>
                  <a:lnTo>
                    <a:pt x="1760" y="1211"/>
                  </a:lnTo>
                  <a:lnTo>
                    <a:pt x="1770" y="1193"/>
                  </a:lnTo>
                  <a:lnTo>
                    <a:pt x="1779" y="1174"/>
                  </a:lnTo>
                  <a:lnTo>
                    <a:pt x="1787" y="1155"/>
                  </a:lnTo>
                  <a:lnTo>
                    <a:pt x="1796" y="1137"/>
                  </a:lnTo>
                  <a:lnTo>
                    <a:pt x="1802" y="1118"/>
                  </a:lnTo>
                  <a:lnTo>
                    <a:pt x="1807" y="1101"/>
                  </a:lnTo>
                  <a:lnTo>
                    <a:pt x="1813" y="1082"/>
                  </a:lnTo>
                  <a:lnTo>
                    <a:pt x="1817" y="1064"/>
                  </a:lnTo>
                  <a:lnTo>
                    <a:pt x="1820" y="1047"/>
                  </a:lnTo>
                  <a:lnTo>
                    <a:pt x="1822" y="1029"/>
                  </a:lnTo>
                  <a:lnTo>
                    <a:pt x="1823" y="1011"/>
                  </a:lnTo>
                  <a:lnTo>
                    <a:pt x="1824" y="993"/>
                  </a:lnTo>
                  <a:lnTo>
                    <a:pt x="1823" y="975"/>
                  </a:lnTo>
                  <a:lnTo>
                    <a:pt x="1822" y="956"/>
                  </a:lnTo>
                  <a:lnTo>
                    <a:pt x="1820" y="938"/>
                  </a:lnTo>
                  <a:lnTo>
                    <a:pt x="1817" y="920"/>
                  </a:lnTo>
                  <a:lnTo>
                    <a:pt x="1813" y="904"/>
                  </a:lnTo>
                  <a:lnTo>
                    <a:pt x="1808" y="886"/>
                  </a:lnTo>
                  <a:lnTo>
                    <a:pt x="1802" y="869"/>
                  </a:lnTo>
                  <a:lnTo>
                    <a:pt x="1796" y="853"/>
                  </a:lnTo>
                  <a:lnTo>
                    <a:pt x="1788" y="837"/>
                  </a:lnTo>
                  <a:lnTo>
                    <a:pt x="1780" y="821"/>
                  </a:lnTo>
                  <a:lnTo>
                    <a:pt x="1771" y="807"/>
                  </a:lnTo>
                  <a:lnTo>
                    <a:pt x="1761" y="791"/>
                  </a:lnTo>
                  <a:lnTo>
                    <a:pt x="1750" y="776"/>
                  </a:lnTo>
                  <a:lnTo>
                    <a:pt x="1738" y="763"/>
                  </a:lnTo>
                  <a:lnTo>
                    <a:pt x="1726" y="748"/>
                  </a:lnTo>
                  <a:lnTo>
                    <a:pt x="1712" y="735"/>
                  </a:lnTo>
                  <a:lnTo>
                    <a:pt x="1697" y="722"/>
                  </a:lnTo>
                  <a:lnTo>
                    <a:pt x="1683" y="709"/>
                  </a:lnTo>
                  <a:lnTo>
                    <a:pt x="1667" y="698"/>
                  </a:lnTo>
                  <a:lnTo>
                    <a:pt x="1652" y="688"/>
                  </a:lnTo>
                  <a:lnTo>
                    <a:pt x="1636" y="678"/>
                  </a:lnTo>
                  <a:lnTo>
                    <a:pt x="1619" y="670"/>
                  </a:lnTo>
                  <a:lnTo>
                    <a:pt x="1602" y="661"/>
                  </a:lnTo>
                  <a:lnTo>
                    <a:pt x="1586" y="654"/>
                  </a:lnTo>
                  <a:lnTo>
                    <a:pt x="1567" y="648"/>
                  </a:lnTo>
                  <a:lnTo>
                    <a:pt x="1549" y="643"/>
                  </a:lnTo>
                  <a:lnTo>
                    <a:pt x="1530" y="639"/>
                  </a:lnTo>
                  <a:lnTo>
                    <a:pt x="1511" y="634"/>
                  </a:lnTo>
                  <a:lnTo>
                    <a:pt x="1491" y="631"/>
                  </a:lnTo>
                  <a:lnTo>
                    <a:pt x="1472" y="629"/>
                  </a:lnTo>
                  <a:lnTo>
                    <a:pt x="1451" y="628"/>
                  </a:lnTo>
                  <a:lnTo>
                    <a:pt x="1430" y="628"/>
                  </a:lnTo>
                  <a:lnTo>
                    <a:pt x="1408" y="628"/>
                  </a:lnTo>
                  <a:lnTo>
                    <a:pt x="1387" y="629"/>
                  </a:lnTo>
                  <a:lnTo>
                    <a:pt x="1366" y="631"/>
                  </a:lnTo>
                  <a:lnTo>
                    <a:pt x="1345" y="634"/>
                  </a:lnTo>
                  <a:lnTo>
                    <a:pt x="1326" y="639"/>
                  </a:lnTo>
                  <a:lnTo>
                    <a:pt x="1306" y="644"/>
                  </a:lnTo>
                  <a:lnTo>
                    <a:pt x="1287" y="649"/>
                  </a:lnTo>
                  <a:lnTo>
                    <a:pt x="1270" y="655"/>
                  </a:lnTo>
                  <a:lnTo>
                    <a:pt x="1252" y="663"/>
                  </a:lnTo>
                  <a:lnTo>
                    <a:pt x="1234" y="671"/>
                  </a:lnTo>
                  <a:lnTo>
                    <a:pt x="1217" y="680"/>
                  </a:lnTo>
                  <a:lnTo>
                    <a:pt x="1201" y="690"/>
                  </a:lnTo>
                  <a:lnTo>
                    <a:pt x="1185" y="701"/>
                  </a:lnTo>
                  <a:lnTo>
                    <a:pt x="1170" y="713"/>
                  </a:lnTo>
                  <a:lnTo>
                    <a:pt x="1156" y="725"/>
                  </a:lnTo>
                  <a:lnTo>
                    <a:pt x="1141" y="739"/>
                  </a:lnTo>
                  <a:lnTo>
                    <a:pt x="1127" y="753"/>
                  </a:lnTo>
                  <a:lnTo>
                    <a:pt x="1114" y="769"/>
                  </a:lnTo>
                  <a:lnTo>
                    <a:pt x="1101" y="787"/>
                  </a:lnTo>
                  <a:lnTo>
                    <a:pt x="1090" y="805"/>
                  </a:lnTo>
                  <a:lnTo>
                    <a:pt x="1078" y="825"/>
                  </a:lnTo>
                  <a:lnTo>
                    <a:pt x="1067" y="846"/>
                  </a:lnTo>
                  <a:lnTo>
                    <a:pt x="1057" y="868"/>
                  </a:lnTo>
                  <a:lnTo>
                    <a:pt x="1047" y="892"/>
                  </a:lnTo>
                  <a:lnTo>
                    <a:pt x="1038" y="917"/>
                  </a:lnTo>
                  <a:lnTo>
                    <a:pt x="1029" y="944"/>
                  </a:lnTo>
                  <a:lnTo>
                    <a:pt x="1022" y="971"/>
                  </a:lnTo>
                  <a:lnTo>
                    <a:pt x="1014" y="1001"/>
                  </a:lnTo>
                  <a:lnTo>
                    <a:pt x="1007" y="1032"/>
                  </a:lnTo>
                  <a:lnTo>
                    <a:pt x="1001" y="1063"/>
                  </a:lnTo>
                  <a:lnTo>
                    <a:pt x="996" y="1097"/>
                  </a:lnTo>
                  <a:lnTo>
                    <a:pt x="990" y="1131"/>
                  </a:lnTo>
                  <a:lnTo>
                    <a:pt x="70" y="1056"/>
                  </a:lnTo>
                  <a:lnTo>
                    <a:pt x="76" y="1008"/>
                  </a:lnTo>
                  <a:lnTo>
                    <a:pt x="85" y="962"/>
                  </a:lnTo>
                  <a:lnTo>
                    <a:pt x="93" y="916"/>
                  </a:lnTo>
                  <a:lnTo>
                    <a:pt x="102" y="872"/>
                  </a:lnTo>
                  <a:lnTo>
                    <a:pt x="113" y="831"/>
                  </a:lnTo>
                  <a:lnTo>
                    <a:pt x="123" y="789"/>
                  </a:lnTo>
                  <a:lnTo>
                    <a:pt x="135" y="749"/>
                  </a:lnTo>
                  <a:lnTo>
                    <a:pt x="146" y="711"/>
                  </a:lnTo>
                  <a:lnTo>
                    <a:pt x="159" y="673"/>
                  </a:lnTo>
                  <a:lnTo>
                    <a:pt x="172" y="638"/>
                  </a:lnTo>
                  <a:lnTo>
                    <a:pt x="187" y="603"/>
                  </a:lnTo>
                  <a:lnTo>
                    <a:pt x="202" y="570"/>
                  </a:lnTo>
                  <a:lnTo>
                    <a:pt x="217" y="537"/>
                  </a:lnTo>
                  <a:lnTo>
                    <a:pt x="234" y="507"/>
                  </a:lnTo>
                  <a:lnTo>
                    <a:pt x="251" y="478"/>
                  </a:lnTo>
                  <a:lnTo>
                    <a:pt x="269" y="450"/>
                  </a:lnTo>
                  <a:lnTo>
                    <a:pt x="287" y="424"/>
                  </a:lnTo>
                  <a:lnTo>
                    <a:pt x="306" y="398"/>
                  </a:lnTo>
                  <a:lnTo>
                    <a:pt x="327" y="371"/>
                  </a:lnTo>
                  <a:lnTo>
                    <a:pt x="348" y="347"/>
                  </a:lnTo>
                  <a:lnTo>
                    <a:pt x="370" y="323"/>
                  </a:lnTo>
                  <a:lnTo>
                    <a:pt x="393" y="302"/>
                  </a:lnTo>
                  <a:lnTo>
                    <a:pt x="417" y="279"/>
                  </a:lnTo>
                  <a:lnTo>
                    <a:pt x="442" y="258"/>
                  </a:lnTo>
                  <a:lnTo>
                    <a:pt x="468" y="237"/>
                  </a:lnTo>
                  <a:lnTo>
                    <a:pt x="496" y="218"/>
                  </a:lnTo>
                  <a:lnTo>
                    <a:pt x="523" y="198"/>
                  </a:lnTo>
                  <a:lnTo>
                    <a:pt x="552" y="181"/>
                  </a:lnTo>
                  <a:lnTo>
                    <a:pt x="581" y="164"/>
                  </a:lnTo>
                  <a:lnTo>
                    <a:pt x="612" y="147"/>
                  </a:lnTo>
                  <a:lnTo>
                    <a:pt x="643" y="131"/>
                  </a:lnTo>
                  <a:lnTo>
                    <a:pt x="676" y="116"/>
                  </a:lnTo>
                  <a:lnTo>
                    <a:pt x="710" y="102"/>
                  </a:lnTo>
                  <a:lnTo>
                    <a:pt x="745" y="89"/>
                  </a:lnTo>
                  <a:lnTo>
                    <a:pt x="782" y="76"/>
                  </a:lnTo>
                  <a:lnTo>
                    <a:pt x="820" y="66"/>
                  </a:lnTo>
                  <a:lnTo>
                    <a:pt x="861" y="55"/>
                  </a:lnTo>
                  <a:lnTo>
                    <a:pt x="901" y="45"/>
                  </a:lnTo>
                  <a:lnTo>
                    <a:pt x="945" y="37"/>
                  </a:lnTo>
                  <a:lnTo>
                    <a:pt x="990" y="29"/>
                  </a:lnTo>
                  <a:lnTo>
                    <a:pt x="1036" y="22"/>
                  </a:lnTo>
                  <a:lnTo>
                    <a:pt x="1085" y="17"/>
                  </a:lnTo>
                  <a:lnTo>
                    <a:pt x="1134" y="11"/>
                  </a:lnTo>
                  <a:lnTo>
                    <a:pt x="1185" y="7"/>
                  </a:lnTo>
                  <a:lnTo>
                    <a:pt x="1237" y="4"/>
                  </a:lnTo>
                  <a:lnTo>
                    <a:pt x="1292" y="2"/>
                  </a:lnTo>
                  <a:lnTo>
                    <a:pt x="1347" y="0"/>
                  </a:lnTo>
                  <a:lnTo>
                    <a:pt x="1405" y="0"/>
                  </a:lnTo>
                  <a:lnTo>
                    <a:pt x="1464" y="0"/>
                  </a:lnTo>
                  <a:lnTo>
                    <a:pt x="1523" y="2"/>
                  </a:lnTo>
                  <a:lnTo>
                    <a:pt x="1579" y="4"/>
                  </a:lnTo>
                  <a:lnTo>
                    <a:pt x="1634" y="7"/>
                  </a:lnTo>
                  <a:lnTo>
                    <a:pt x="1687" y="10"/>
                  </a:lnTo>
                  <a:lnTo>
                    <a:pt x="1738" y="16"/>
                  </a:lnTo>
                  <a:lnTo>
                    <a:pt x="1788" y="21"/>
                  </a:lnTo>
                  <a:lnTo>
                    <a:pt x="1837" y="28"/>
                  </a:lnTo>
                  <a:lnTo>
                    <a:pt x="1883" y="35"/>
                  </a:lnTo>
                  <a:lnTo>
                    <a:pt x="1928" y="43"/>
                  </a:lnTo>
                  <a:lnTo>
                    <a:pt x="1970" y="52"/>
                  </a:lnTo>
                  <a:lnTo>
                    <a:pt x="2012" y="63"/>
                  </a:lnTo>
                  <a:lnTo>
                    <a:pt x="2052" y="73"/>
                  </a:lnTo>
                  <a:lnTo>
                    <a:pt x="2090" y="85"/>
                  </a:lnTo>
                  <a:lnTo>
                    <a:pt x="2126" y="97"/>
                  </a:lnTo>
                  <a:lnTo>
                    <a:pt x="2161" y="111"/>
                  </a:lnTo>
                  <a:lnTo>
                    <a:pt x="2194" y="125"/>
                  </a:lnTo>
                  <a:lnTo>
                    <a:pt x="2227" y="140"/>
                  </a:lnTo>
                  <a:lnTo>
                    <a:pt x="2258" y="157"/>
                  </a:lnTo>
                  <a:lnTo>
                    <a:pt x="2288" y="173"/>
                  </a:lnTo>
                  <a:lnTo>
                    <a:pt x="2318" y="191"/>
                  </a:lnTo>
                  <a:lnTo>
                    <a:pt x="2347" y="210"/>
                  </a:lnTo>
                  <a:lnTo>
                    <a:pt x="2375" y="230"/>
                  </a:lnTo>
                  <a:lnTo>
                    <a:pt x="2401" y="250"/>
                  </a:lnTo>
                  <a:lnTo>
                    <a:pt x="2428" y="272"/>
                  </a:lnTo>
                  <a:lnTo>
                    <a:pt x="2453" y="294"/>
                  </a:lnTo>
                  <a:lnTo>
                    <a:pt x="2478" y="318"/>
                  </a:lnTo>
                  <a:lnTo>
                    <a:pt x="2501" y="342"/>
                  </a:lnTo>
                  <a:lnTo>
                    <a:pt x="2523" y="367"/>
                  </a:lnTo>
                  <a:lnTo>
                    <a:pt x="2545" y="394"/>
                  </a:lnTo>
                  <a:lnTo>
                    <a:pt x="2566" y="422"/>
                  </a:lnTo>
                  <a:lnTo>
                    <a:pt x="2584" y="450"/>
                  </a:lnTo>
                  <a:lnTo>
                    <a:pt x="2603" y="478"/>
                  </a:lnTo>
                  <a:lnTo>
                    <a:pt x="2621" y="507"/>
                  </a:lnTo>
                  <a:lnTo>
                    <a:pt x="2638" y="537"/>
                  </a:lnTo>
                  <a:lnTo>
                    <a:pt x="2652" y="568"/>
                  </a:lnTo>
                  <a:lnTo>
                    <a:pt x="2667" y="598"/>
                  </a:lnTo>
                  <a:lnTo>
                    <a:pt x="2680" y="629"/>
                  </a:lnTo>
                  <a:lnTo>
                    <a:pt x="2691" y="660"/>
                  </a:lnTo>
                  <a:lnTo>
                    <a:pt x="2702" y="693"/>
                  </a:lnTo>
                  <a:lnTo>
                    <a:pt x="2710" y="724"/>
                  </a:lnTo>
                  <a:lnTo>
                    <a:pt x="2718" y="757"/>
                  </a:lnTo>
                  <a:lnTo>
                    <a:pt x="2725" y="791"/>
                  </a:lnTo>
                  <a:lnTo>
                    <a:pt x="2730" y="824"/>
                  </a:lnTo>
                  <a:lnTo>
                    <a:pt x="2735" y="858"/>
                  </a:lnTo>
                  <a:lnTo>
                    <a:pt x="2737" y="892"/>
                  </a:lnTo>
                  <a:lnTo>
                    <a:pt x="2739" y="928"/>
                  </a:lnTo>
                  <a:lnTo>
                    <a:pt x="2740" y="962"/>
                  </a:lnTo>
                  <a:lnTo>
                    <a:pt x="2739" y="1000"/>
                  </a:lnTo>
                  <a:lnTo>
                    <a:pt x="2737" y="1037"/>
                  </a:lnTo>
                  <a:lnTo>
                    <a:pt x="2734" y="1075"/>
                  </a:lnTo>
                  <a:lnTo>
                    <a:pt x="2729" y="1111"/>
                  </a:lnTo>
                  <a:lnTo>
                    <a:pt x="2723" y="1149"/>
                  </a:lnTo>
                  <a:lnTo>
                    <a:pt x="2715" y="1185"/>
                  </a:lnTo>
                  <a:lnTo>
                    <a:pt x="2706" y="1221"/>
                  </a:lnTo>
                  <a:lnTo>
                    <a:pt x="2695" y="1257"/>
                  </a:lnTo>
                  <a:lnTo>
                    <a:pt x="2684" y="1294"/>
                  </a:lnTo>
                  <a:lnTo>
                    <a:pt x="2670" y="1329"/>
                  </a:lnTo>
                  <a:lnTo>
                    <a:pt x="2656" y="1365"/>
                  </a:lnTo>
                  <a:lnTo>
                    <a:pt x="2640" y="1400"/>
                  </a:lnTo>
                  <a:lnTo>
                    <a:pt x="2623" y="1436"/>
                  </a:lnTo>
                  <a:lnTo>
                    <a:pt x="2604" y="1470"/>
                  </a:lnTo>
                  <a:lnTo>
                    <a:pt x="2584" y="1505"/>
                  </a:lnTo>
                  <a:lnTo>
                    <a:pt x="2563" y="1540"/>
                  </a:lnTo>
                  <a:lnTo>
                    <a:pt x="2539" y="1574"/>
                  </a:lnTo>
                  <a:lnTo>
                    <a:pt x="2513" y="1609"/>
                  </a:lnTo>
                  <a:lnTo>
                    <a:pt x="2486" y="1644"/>
                  </a:lnTo>
                  <a:lnTo>
                    <a:pt x="2456" y="1680"/>
                  </a:lnTo>
                  <a:lnTo>
                    <a:pt x="2423" y="1716"/>
                  </a:lnTo>
                  <a:lnTo>
                    <a:pt x="2389" y="1753"/>
                  </a:lnTo>
                  <a:lnTo>
                    <a:pt x="2352" y="1790"/>
                  </a:lnTo>
                  <a:lnTo>
                    <a:pt x="2313" y="1828"/>
                  </a:lnTo>
                  <a:lnTo>
                    <a:pt x="2271" y="1866"/>
                  </a:lnTo>
                  <a:lnTo>
                    <a:pt x="2228" y="1904"/>
                  </a:lnTo>
                  <a:lnTo>
                    <a:pt x="2182" y="1943"/>
                  </a:lnTo>
                  <a:lnTo>
                    <a:pt x="2133" y="1982"/>
                  </a:lnTo>
                  <a:lnTo>
                    <a:pt x="2082" y="2022"/>
                  </a:lnTo>
                  <a:lnTo>
                    <a:pt x="2029" y="2062"/>
                  </a:lnTo>
                  <a:lnTo>
                    <a:pt x="1975" y="2102"/>
                  </a:lnTo>
                  <a:lnTo>
                    <a:pt x="1917" y="2143"/>
                  </a:lnTo>
                  <a:lnTo>
                    <a:pt x="1850" y="2190"/>
                  </a:lnTo>
                  <a:lnTo>
                    <a:pt x="1790" y="2232"/>
                  </a:lnTo>
                  <a:lnTo>
                    <a:pt x="1734" y="2271"/>
                  </a:lnTo>
                  <a:lnTo>
                    <a:pt x="1685" y="2307"/>
                  </a:lnTo>
                  <a:lnTo>
                    <a:pt x="1641" y="2338"/>
                  </a:lnTo>
                  <a:lnTo>
                    <a:pt x="1603" y="2366"/>
                  </a:lnTo>
                  <a:lnTo>
                    <a:pt x="1572" y="2391"/>
                  </a:lnTo>
                  <a:lnTo>
                    <a:pt x="1545" y="2412"/>
                  </a:lnTo>
                  <a:lnTo>
                    <a:pt x="1521" y="2432"/>
                  </a:lnTo>
                  <a:lnTo>
                    <a:pt x="1497" y="2453"/>
                  </a:lnTo>
                  <a:lnTo>
                    <a:pt x="1470" y="2476"/>
                  </a:lnTo>
                  <a:lnTo>
                    <a:pt x="1443" y="2501"/>
                  </a:lnTo>
                  <a:lnTo>
                    <a:pt x="1415" y="2526"/>
                  </a:lnTo>
                  <a:lnTo>
                    <a:pt x="1386" y="2553"/>
                  </a:lnTo>
                  <a:lnTo>
                    <a:pt x="1355" y="2582"/>
                  </a:lnTo>
                  <a:lnTo>
                    <a:pt x="1324" y="2613"/>
                  </a:lnTo>
                  <a:lnTo>
                    <a:pt x="2763" y="2613"/>
                  </a:lnTo>
                  <a:lnTo>
                    <a:pt x="2763" y="336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2" name="Google Shape;9168;p183">
              <a:extLst>
                <a:ext uri="{FF2B5EF4-FFF2-40B4-BE49-F238E27FC236}">
                  <a16:creationId xmlns:a16="http://schemas.microsoft.com/office/drawing/2014/main" id="{DB5505A3-FFC2-4832-B5ED-0232710334C0}"/>
                </a:ext>
              </a:extLst>
            </p:cNvPr>
            <p:cNvSpPr txBox="1"/>
            <p:nvPr/>
          </p:nvSpPr>
          <p:spPr>
            <a:xfrm>
              <a:off x="7833833" y="1488139"/>
              <a:ext cx="3332008" cy="113510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r>
                <a:rPr lang="en-GB" sz="1600" b="0" i="0" dirty="0">
                  <a:solidFill>
                    <a:srgbClr val="F1F2F2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Use the TF-IDF vectors obtained from the previous step as input features, and the corresponding labels (spam or ham) as the target variable.</a:t>
              </a: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Google Shape;9171;p183">
              <a:extLst>
                <a:ext uri="{FF2B5EF4-FFF2-40B4-BE49-F238E27FC236}">
                  <a16:creationId xmlns:a16="http://schemas.microsoft.com/office/drawing/2014/main" id="{08AAEE6D-93B7-41C1-B036-F0E75C3D71B3}"/>
                </a:ext>
              </a:extLst>
            </p:cNvPr>
            <p:cNvSpPr txBox="1"/>
            <p:nvPr/>
          </p:nvSpPr>
          <p:spPr>
            <a:xfrm>
              <a:off x="7172759" y="2740100"/>
              <a:ext cx="4103147" cy="9239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r>
                <a:rPr lang="en-GB" sz="1600" b="0" i="0" dirty="0">
                  <a:solidFill>
                    <a:srgbClr val="F1F2F2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TF-IDF assigns weights to each word based on its frequency in a document and rarity across all documents. This helps in capturing the importance of words for spam detection.</a:t>
              </a:r>
            </a:p>
          </p:txBody>
        </p:sp>
        <p:sp>
          <p:nvSpPr>
            <p:cNvPr id="29" name="Google Shape;9182;p183">
              <a:extLst>
                <a:ext uri="{FF2B5EF4-FFF2-40B4-BE49-F238E27FC236}">
                  <a16:creationId xmlns:a16="http://schemas.microsoft.com/office/drawing/2014/main" id="{A0056FD8-FD1A-4BC3-B057-489E0A48EE5B}"/>
                </a:ext>
              </a:extLst>
            </p:cNvPr>
            <p:cNvSpPr/>
            <p:nvPr/>
          </p:nvSpPr>
          <p:spPr>
            <a:xfrm>
              <a:off x="7180621" y="1634638"/>
              <a:ext cx="392930" cy="394047"/>
            </a:xfrm>
            <a:custGeom>
              <a:avLst/>
              <a:gdLst/>
              <a:ahLst/>
              <a:cxnLst/>
              <a:rect l="l" t="t" r="r" b="b"/>
              <a:pathLst>
                <a:path w="576" h="576" extrusionOk="0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24" y="551"/>
                    <a:pt x="24" y="551"/>
                    <a:pt x="24" y="551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551" y="24"/>
                    <a:pt x="551" y="24"/>
                    <a:pt x="551" y="24"/>
                  </a:cubicBezTo>
                  <a:lnTo>
                    <a:pt x="551" y="551"/>
                  </a:lnTo>
                  <a:close/>
                  <a:moveTo>
                    <a:pt x="205" y="449"/>
                  </a:moveTo>
                  <a:cubicBezTo>
                    <a:pt x="197" y="475"/>
                    <a:pt x="197" y="475"/>
                    <a:pt x="197" y="475"/>
                  </a:cubicBezTo>
                  <a:cubicBezTo>
                    <a:pt x="128" y="442"/>
                    <a:pt x="80" y="370"/>
                    <a:pt x="80" y="288"/>
                  </a:cubicBezTo>
                  <a:cubicBezTo>
                    <a:pt x="80" y="176"/>
                    <a:pt x="168" y="85"/>
                    <a:pt x="278" y="79"/>
                  </a:cubicBezTo>
                  <a:cubicBezTo>
                    <a:pt x="263" y="64"/>
                    <a:pt x="263" y="64"/>
                    <a:pt x="263" y="64"/>
                  </a:cubicBezTo>
                  <a:cubicBezTo>
                    <a:pt x="282" y="45"/>
                    <a:pt x="282" y="45"/>
                    <a:pt x="282" y="45"/>
                  </a:cubicBezTo>
                  <a:cubicBezTo>
                    <a:pt x="331" y="94"/>
                    <a:pt x="331" y="94"/>
                    <a:pt x="331" y="94"/>
                  </a:cubicBezTo>
                  <a:cubicBezTo>
                    <a:pt x="282" y="143"/>
                    <a:pt x="282" y="143"/>
                    <a:pt x="282" y="143"/>
                  </a:cubicBezTo>
                  <a:cubicBezTo>
                    <a:pt x="263" y="124"/>
                    <a:pt x="263" y="124"/>
                    <a:pt x="263" y="124"/>
                  </a:cubicBezTo>
                  <a:cubicBezTo>
                    <a:pt x="281" y="106"/>
                    <a:pt x="281" y="106"/>
                    <a:pt x="281" y="106"/>
                  </a:cubicBezTo>
                  <a:cubicBezTo>
                    <a:pt x="184" y="110"/>
                    <a:pt x="107" y="190"/>
                    <a:pt x="107" y="288"/>
                  </a:cubicBezTo>
                  <a:cubicBezTo>
                    <a:pt x="107" y="358"/>
                    <a:pt x="147" y="419"/>
                    <a:pt x="205" y="449"/>
                  </a:cubicBezTo>
                  <a:close/>
                  <a:moveTo>
                    <a:pt x="295" y="496"/>
                  </a:moveTo>
                  <a:cubicBezTo>
                    <a:pt x="310" y="511"/>
                    <a:pt x="310" y="511"/>
                    <a:pt x="310" y="511"/>
                  </a:cubicBezTo>
                  <a:cubicBezTo>
                    <a:pt x="291" y="530"/>
                    <a:pt x="291" y="530"/>
                    <a:pt x="291" y="530"/>
                  </a:cubicBezTo>
                  <a:cubicBezTo>
                    <a:pt x="242" y="481"/>
                    <a:pt x="242" y="481"/>
                    <a:pt x="242" y="481"/>
                  </a:cubicBezTo>
                  <a:cubicBezTo>
                    <a:pt x="291" y="432"/>
                    <a:pt x="291" y="432"/>
                    <a:pt x="291" y="432"/>
                  </a:cubicBezTo>
                  <a:cubicBezTo>
                    <a:pt x="310" y="451"/>
                    <a:pt x="310" y="451"/>
                    <a:pt x="310" y="451"/>
                  </a:cubicBezTo>
                  <a:cubicBezTo>
                    <a:pt x="292" y="469"/>
                    <a:pt x="292" y="469"/>
                    <a:pt x="292" y="469"/>
                  </a:cubicBezTo>
                  <a:cubicBezTo>
                    <a:pt x="391" y="468"/>
                    <a:pt x="470" y="387"/>
                    <a:pt x="470" y="288"/>
                  </a:cubicBezTo>
                  <a:cubicBezTo>
                    <a:pt x="470" y="214"/>
                    <a:pt x="426" y="151"/>
                    <a:pt x="363" y="122"/>
                  </a:cubicBezTo>
                  <a:cubicBezTo>
                    <a:pt x="371" y="96"/>
                    <a:pt x="371" y="96"/>
                    <a:pt x="371" y="96"/>
                  </a:cubicBezTo>
                  <a:cubicBezTo>
                    <a:pt x="445" y="128"/>
                    <a:pt x="497" y="202"/>
                    <a:pt x="497" y="288"/>
                  </a:cubicBezTo>
                  <a:cubicBezTo>
                    <a:pt x="497" y="401"/>
                    <a:pt x="407" y="493"/>
                    <a:pt x="295" y="496"/>
                  </a:cubicBezTo>
                  <a:close/>
                  <a:moveTo>
                    <a:pt x="289" y="157"/>
                  </a:moveTo>
                  <a:cubicBezTo>
                    <a:pt x="217" y="157"/>
                    <a:pt x="158" y="216"/>
                    <a:pt x="158" y="288"/>
                  </a:cubicBezTo>
                  <a:cubicBezTo>
                    <a:pt x="158" y="360"/>
                    <a:pt x="217" y="418"/>
                    <a:pt x="289" y="418"/>
                  </a:cubicBezTo>
                  <a:cubicBezTo>
                    <a:pt x="360" y="418"/>
                    <a:pt x="419" y="360"/>
                    <a:pt x="419" y="288"/>
                  </a:cubicBezTo>
                  <a:cubicBezTo>
                    <a:pt x="419" y="216"/>
                    <a:pt x="360" y="157"/>
                    <a:pt x="289" y="157"/>
                  </a:cubicBezTo>
                  <a:close/>
                  <a:moveTo>
                    <a:pt x="183" y="300"/>
                  </a:moveTo>
                  <a:cubicBezTo>
                    <a:pt x="211" y="300"/>
                    <a:pt x="211" y="300"/>
                    <a:pt x="211" y="300"/>
                  </a:cubicBezTo>
                  <a:cubicBezTo>
                    <a:pt x="212" y="311"/>
                    <a:pt x="214" y="320"/>
                    <a:pt x="216" y="330"/>
                  </a:cubicBezTo>
                  <a:cubicBezTo>
                    <a:pt x="191" y="330"/>
                    <a:pt x="191" y="330"/>
                    <a:pt x="191" y="330"/>
                  </a:cubicBezTo>
                  <a:cubicBezTo>
                    <a:pt x="187" y="320"/>
                    <a:pt x="185" y="310"/>
                    <a:pt x="183" y="300"/>
                  </a:cubicBezTo>
                  <a:close/>
                  <a:moveTo>
                    <a:pt x="301" y="221"/>
                  </a:moveTo>
                  <a:cubicBezTo>
                    <a:pt x="301" y="193"/>
                    <a:pt x="301" y="193"/>
                    <a:pt x="301" y="193"/>
                  </a:cubicBezTo>
                  <a:cubicBezTo>
                    <a:pt x="308" y="200"/>
                    <a:pt x="317" y="209"/>
                    <a:pt x="326" y="221"/>
                  </a:cubicBezTo>
                  <a:lnTo>
                    <a:pt x="301" y="221"/>
                  </a:lnTo>
                  <a:close/>
                  <a:moveTo>
                    <a:pt x="338" y="246"/>
                  </a:moveTo>
                  <a:cubicBezTo>
                    <a:pt x="342" y="255"/>
                    <a:pt x="344" y="265"/>
                    <a:pt x="345" y="275"/>
                  </a:cubicBezTo>
                  <a:cubicBezTo>
                    <a:pt x="301" y="275"/>
                    <a:pt x="301" y="275"/>
                    <a:pt x="301" y="275"/>
                  </a:cubicBezTo>
                  <a:cubicBezTo>
                    <a:pt x="301" y="246"/>
                    <a:pt x="301" y="246"/>
                    <a:pt x="301" y="246"/>
                  </a:cubicBezTo>
                  <a:lnTo>
                    <a:pt x="338" y="246"/>
                  </a:lnTo>
                  <a:close/>
                  <a:moveTo>
                    <a:pt x="276" y="194"/>
                  </a:moveTo>
                  <a:cubicBezTo>
                    <a:pt x="276" y="221"/>
                    <a:pt x="276" y="221"/>
                    <a:pt x="276" y="221"/>
                  </a:cubicBezTo>
                  <a:cubicBezTo>
                    <a:pt x="254" y="221"/>
                    <a:pt x="254" y="221"/>
                    <a:pt x="254" y="221"/>
                  </a:cubicBezTo>
                  <a:cubicBezTo>
                    <a:pt x="261" y="209"/>
                    <a:pt x="269" y="200"/>
                    <a:pt x="276" y="194"/>
                  </a:cubicBezTo>
                  <a:close/>
                  <a:moveTo>
                    <a:pt x="276" y="246"/>
                  </a:moveTo>
                  <a:cubicBezTo>
                    <a:pt x="276" y="275"/>
                    <a:pt x="276" y="275"/>
                    <a:pt x="276" y="275"/>
                  </a:cubicBezTo>
                  <a:cubicBezTo>
                    <a:pt x="236" y="275"/>
                    <a:pt x="236" y="275"/>
                    <a:pt x="236" y="275"/>
                  </a:cubicBezTo>
                  <a:cubicBezTo>
                    <a:pt x="237" y="265"/>
                    <a:pt x="239" y="255"/>
                    <a:pt x="242" y="246"/>
                  </a:cubicBezTo>
                  <a:lnTo>
                    <a:pt x="276" y="246"/>
                  </a:lnTo>
                  <a:close/>
                  <a:moveTo>
                    <a:pt x="211" y="275"/>
                  </a:moveTo>
                  <a:cubicBezTo>
                    <a:pt x="183" y="275"/>
                    <a:pt x="183" y="275"/>
                    <a:pt x="183" y="275"/>
                  </a:cubicBezTo>
                  <a:cubicBezTo>
                    <a:pt x="185" y="265"/>
                    <a:pt x="187" y="255"/>
                    <a:pt x="191" y="246"/>
                  </a:cubicBezTo>
                  <a:cubicBezTo>
                    <a:pt x="216" y="246"/>
                    <a:pt x="216" y="246"/>
                    <a:pt x="216" y="246"/>
                  </a:cubicBezTo>
                  <a:cubicBezTo>
                    <a:pt x="214" y="255"/>
                    <a:pt x="212" y="265"/>
                    <a:pt x="211" y="275"/>
                  </a:cubicBezTo>
                  <a:close/>
                  <a:moveTo>
                    <a:pt x="236" y="300"/>
                  </a:moveTo>
                  <a:cubicBezTo>
                    <a:pt x="276" y="300"/>
                    <a:pt x="276" y="300"/>
                    <a:pt x="276" y="300"/>
                  </a:cubicBezTo>
                  <a:cubicBezTo>
                    <a:pt x="276" y="330"/>
                    <a:pt x="276" y="330"/>
                    <a:pt x="276" y="330"/>
                  </a:cubicBezTo>
                  <a:cubicBezTo>
                    <a:pt x="242" y="330"/>
                    <a:pt x="242" y="330"/>
                    <a:pt x="242" y="330"/>
                  </a:cubicBezTo>
                  <a:cubicBezTo>
                    <a:pt x="239" y="321"/>
                    <a:pt x="237" y="311"/>
                    <a:pt x="236" y="300"/>
                  </a:cubicBezTo>
                  <a:close/>
                  <a:moveTo>
                    <a:pt x="276" y="354"/>
                  </a:moveTo>
                  <a:cubicBezTo>
                    <a:pt x="276" y="382"/>
                    <a:pt x="276" y="382"/>
                    <a:pt x="276" y="382"/>
                  </a:cubicBezTo>
                  <a:cubicBezTo>
                    <a:pt x="269" y="375"/>
                    <a:pt x="261" y="366"/>
                    <a:pt x="254" y="354"/>
                  </a:cubicBezTo>
                  <a:lnTo>
                    <a:pt x="276" y="354"/>
                  </a:lnTo>
                  <a:close/>
                  <a:moveTo>
                    <a:pt x="301" y="383"/>
                  </a:moveTo>
                  <a:cubicBezTo>
                    <a:pt x="301" y="354"/>
                    <a:pt x="301" y="354"/>
                    <a:pt x="301" y="354"/>
                  </a:cubicBezTo>
                  <a:cubicBezTo>
                    <a:pt x="325" y="354"/>
                    <a:pt x="325" y="354"/>
                    <a:pt x="325" y="354"/>
                  </a:cubicBezTo>
                  <a:cubicBezTo>
                    <a:pt x="317" y="366"/>
                    <a:pt x="308" y="376"/>
                    <a:pt x="301" y="383"/>
                  </a:cubicBezTo>
                  <a:close/>
                  <a:moveTo>
                    <a:pt x="301" y="330"/>
                  </a:moveTo>
                  <a:cubicBezTo>
                    <a:pt x="301" y="300"/>
                    <a:pt x="301" y="300"/>
                    <a:pt x="301" y="300"/>
                  </a:cubicBezTo>
                  <a:cubicBezTo>
                    <a:pt x="345" y="300"/>
                    <a:pt x="345" y="300"/>
                    <a:pt x="345" y="300"/>
                  </a:cubicBezTo>
                  <a:cubicBezTo>
                    <a:pt x="344" y="311"/>
                    <a:pt x="342" y="321"/>
                    <a:pt x="338" y="330"/>
                  </a:cubicBezTo>
                  <a:lnTo>
                    <a:pt x="301" y="330"/>
                  </a:lnTo>
                  <a:close/>
                  <a:moveTo>
                    <a:pt x="370" y="300"/>
                  </a:moveTo>
                  <a:cubicBezTo>
                    <a:pt x="394" y="300"/>
                    <a:pt x="394" y="300"/>
                    <a:pt x="394" y="300"/>
                  </a:cubicBezTo>
                  <a:cubicBezTo>
                    <a:pt x="392" y="310"/>
                    <a:pt x="390" y="320"/>
                    <a:pt x="386" y="330"/>
                  </a:cubicBezTo>
                  <a:cubicBezTo>
                    <a:pt x="364" y="330"/>
                    <a:pt x="364" y="330"/>
                    <a:pt x="364" y="330"/>
                  </a:cubicBezTo>
                  <a:cubicBezTo>
                    <a:pt x="367" y="320"/>
                    <a:pt x="369" y="311"/>
                    <a:pt x="370" y="300"/>
                  </a:cubicBezTo>
                  <a:close/>
                  <a:moveTo>
                    <a:pt x="370" y="275"/>
                  </a:moveTo>
                  <a:cubicBezTo>
                    <a:pt x="369" y="265"/>
                    <a:pt x="367" y="255"/>
                    <a:pt x="364" y="246"/>
                  </a:cubicBezTo>
                  <a:cubicBezTo>
                    <a:pt x="386" y="246"/>
                    <a:pt x="386" y="246"/>
                    <a:pt x="386" y="246"/>
                  </a:cubicBezTo>
                  <a:cubicBezTo>
                    <a:pt x="390" y="255"/>
                    <a:pt x="392" y="265"/>
                    <a:pt x="394" y="275"/>
                  </a:cubicBezTo>
                  <a:lnTo>
                    <a:pt x="370" y="275"/>
                  </a:lnTo>
                  <a:close/>
                  <a:moveTo>
                    <a:pt x="371" y="221"/>
                  </a:moveTo>
                  <a:cubicBezTo>
                    <a:pt x="354" y="221"/>
                    <a:pt x="354" y="221"/>
                    <a:pt x="354" y="221"/>
                  </a:cubicBezTo>
                  <a:cubicBezTo>
                    <a:pt x="348" y="210"/>
                    <a:pt x="342" y="201"/>
                    <a:pt x="335" y="192"/>
                  </a:cubicBezTo>
                  <a:cubicBezTo>
                    <a:pt x="349" y="199"/>
                    <a:pt x="361" y="209"/>
                    <a:pt x="371" y="221"/>
                  </a:cubicBezTo>
                  <a:close/>
                  <a:moveTo>
                    <a:pt x="245" y="191"/>
                  </a:moveTo>
                  <a:cubicBezTo>
                    <a:pt x="239" y="199"/>
                    <a:pt x="232" y="210"/>
                    <a:pt x="226" y="221"/>
                  </a:cubicBezTo>
                  <a:cubicBezTo>
                    <a:pt x="206" y="221"/>
                    <a:pt x="206" y="221"/>
                    <a:pt x="206" y="221"/>
                  </a:cubicBezTo>
                  <a:cubicBezTo>
                    <a:pt x="217" y="208"/>
                    <a:pt x="230" y="198"/>
                    <a:pt x="245" y="191"/>
                  </a:cubicBezTo>
                  <a:close/>
                  <a:moveTo>
                    <a:pt x="206" y="354"/>
                  </a:moveTo>
                  <a:cubicBezTo>
                    <a:pt x="226" y="354"/>
                    <a:pt x="226" y="354"/>
                    <a:pt x="226" y="354"/>
                  </a:cubicBezTo>
                  <a:cubicBezTo>
                    <a:pt x="232" y="366"/>
                    <a:pt x="239" y="376"/>
                    <a:pt x="245" y="385"/>
                  </a:cubicBezTo>
                  <a:cubicBezTo>
                    <a:pt x="230" y="378"/>
                    <a:pt x="217" y="367"/>
                    <a:pt x="206" y="354"/>
                  </a:cubicBezTo>
                  <a:close/>
                  <a:moveTo>
                    <a:pt x="335" y="383"/>
                  </a:moveTo>
                  <a:cubicBezTo>
                    <a:pt x="342" y="375"/>
                    <a:pt x="348" y="365"/>
                    <a:pt x="354" y="354"/>
                  </a:cubicBezTo>
                  <a:cubicBezTo>
                    <a:pt x="371" y="354"/>
                    <a:pt x="371" y="354"/>
                    <a:pt x="371" y="354"/>
                  </a:cubicBezTo>
                  <a:cubicBezTo>
                    <a:pt x="361" y="366"/>
                    <a:pt x="349" y="376"/>
                    <a:pt x="335" y="38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600"/>
                <a:buFont typeface="Arial"/>
                <a:buNone/>
              </a:pPr>
              <a:endParaRPr sz="600" b="1" i="0" u="none" strike="noStrike" cap="none">
                <a:solidFill>
                  <a:srgbClr val="D04A0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" name="Google Shape;9183;p183">
              <a:extLst>
                <a:ext uri="{FF2B5EF4-FFF2-40B4-BE49-F238E27FC236}">
                  <a16:creationId xmlns:a16="http://schemas.microsoft.com/office/drawing/2014/main" id="{92A966B7-C419-4596-9DA0-5440FE3CF4E2}"/>
                </a:ext>
              </a:extLst>
            </p:cNvPr>
            <p:cNvSpPr/>
            <p:nvPr/>
          </p:nvSpPr>
          <p:spPr>
            <a:xfrm>
              <a:off x="6468184" y="2873530"/>
              <a:ext cx="419592" cy="420188"/>
            </a:xfrm>
            <a:custGeom>
              <a:avLst/>
              <a:gdLst/>
              <a:ahLst/>
              <a:cxnLst/>
              <a:rect l="l" t="t" r="r" b="b"/>
              <a:pathLst>
                <a:path w="576" h="576" extrusionOk="0">
                  <a:moveTo>
                    <a:pt x="336" y="387"/>
                  </a:moveTo>
                  <a:cubicBezTo>
                    <a:pt x="241" y="387"/>
                    <a:pt x="241" y="387"/>
                    <a:pt x="241" y="387"/>
                  </a:cubicBezTo>
                  <a:cubicBezTo>
                    <a:pt x="241" y="363"/>
                    <a:pt x="241" y="363"/>
                    <a:pt x="241" y="363"/>
                  </a:cubicBezTo>
                  <a:cubicBezTo>
                    <a:pt x="265" y="363"/>
                    <a:pt x="265" y="363"/>
                    <a:pt x="265" y="363"/>
                  </a:cubicBezTo>
                  <a:cubicBezTo>
                    <a:pt x="265" y="227"/>
                    <a:pt x="265" y="227"/>
                    <a:pt x="265" y="227"/>
                  </a:cubicBezTo>
                  <a:cubicBezTo>
                    <a:pt x="241" y="227"/>
                    <a:pt x="241" y="227"/>
                    <a:pt x="241" y="227"/>
                  </a:cubicBezTo>
                  <a:cubicBezTo>
                    <a:pt x="241" y="203"/>
                    <a:pt x="241" y="203"/>
                    <a:pt x="241" y="203"/>
                  </a:cubicBezTo>
                  <a:cubicBezTo>
                    <a:pt x="313" y="203"/>
                    <a:pt x="313" y="203"/>
                    <a:pt x="313" y="203"/>
                  </a:cubicBezTo>
                  <a:cubicBezTo>
                    <a:pt x="313" y="363"/>
                    <a:pt x="313" y="363"/>
                    <a:pt x="313" y="363"/>
                  </a:cubicBezTo>
                  <a:cubicBezTo>
                    <a:pt x="336" y="363"/>
                    <a:pt x="336" y="363"/>
                    <a:pt x="336" y="363"/>
                  </a:cubicBezTo>
                  <a:lnTo>
                    <a:pt x="336" y="387"/>
                  </a:lnTo>
                  <a:close/>
                  <a:moveTo>
                    <a:pt x="361" y="339"/>
                  </a:moveTo>
                  <a:cubicBezTo>
                    <a:pt x="336" y="339"/>
                    <a:pt x="336" y="339"/>
                    <a:pt x="336" y="339"/>
                  </a:cubicBezTo>
                  <a:cubicBezTo>
                    <a:pt x="336" y="179"/>
                    <a:pt x="336" y="179"/>
                    <a:pt x="336" y="179"/>
                  </a:cubicBezTo>
                  <a:cubicBezTo>
                    <a:pt x="217" y="179"/>
                    <a:pt x="217" y="179"/>
                    <a:pt x="217" y="179"/>
                  </a:cubicBezTo>
                  <a:cubicBezTo>
                    <a:pt x="217" y="251"/>
                    <a:pt x="217" y="251"/>
                    <a:pt x="217" y="251"/>
                  </a:cubicBezTo>
                  <a:cubicBezTo>
                    <a:pt x="241" y="251"/>
                    <a:pt x="241" y="251"/>
                    <a:pt x="241" y="251"/>
                  </a:cubicBezTo>
                  <a:cubicBezTo>
                    <a:pt x="241" y="339"/>
                    <a:pt x="241" y="339"/>
                    <a:pt x="241" y="339"/>
                  </a:cubicBezTo>
                  <a:cubicBezTo>
                    <a:pt x="217" y="339"/>
                    <a:pt x="217" y="339"/>
                    <a:pt x="217" y="339"/>
                  </a:cubicBezTo>
                  <a:cubicBezTo>
                    <a:pt x="217" y="411"/>
                    <a:pt x="217" y="411"/>
                    <a:pt x="217" y="411"/>
                  </a:cubicBezTo>
                  <a:cubicBezTo>
                    <a:pt x="361" y="411"/>
                    <a:pt x="361" y="411"/>
                    <a:pt x="361" y="411"/>
                  </a:cubicBezTo>
                  <a:lnTo>
                    <a:pt x="361" y="339"/>
                  </a:lnTo>
                  <a:close/>
                  <a:moveTo>
                    <a:pt x="289" y="83"/>
                  </a:moveTo>
                  <a:cubicBezTo>
                    <a:pt x="289" y="83"/>
                    <a:pt x="289" y="83"/>
                    <a:pt x="289" y="83"/>
                  </a:cubicBezTo>
                  <a:cubicBezTo>
                    <a:pt x="302" y="83"/>
                    <a:pt x="313" y="94"/>
                    <a:pt x="313" y="107"/>
                  </a:cubicBezTo>
                  <a:cubicBezTo>
                    <a:pt x="313" y="121"/>
                    <a:pt x="302" y="131"/>
                    <a:pt x="289" y="131"/>
                  </a:cubicBezTo>
                  <a:cubicBezTo>
                    <a:pt x="275" y="131"/>
                    <a:pt x="265" y="121"/>
                    <a:pt x="265" y="107"/>
                  </a:cubicBezTo>
                  <a:cubicBezTo>
                    <a:pt x="265" y="94"/>
                    <a:pt x="275" y="83"/>
                    <a:pt x="289" y="83"/>
                  </a:cubicBezTo>
                  <a:close/>
                  <a:moveTo>
                    <a:pt x="289" y="155"/>
                  </a:moveTo>
                  <a:cubicBezTo>
                    <a:pt x="289" y="155"/>
                    <a:pt x="289" y="155"/>
                    <a:pt x="289" y="155"/>
                  </a:cubicBezTo>
                  <a:cubicBezTo>
                    <a:pt x="315" y="155"/>
                    <a:pt x="336" y="134"/>
                    <a:pt x="336" y="107"/>
                  </a:cubicBezTo>
                  <a:cubicBezTo>
                    <a:pt x="336" y="81"/>
                    <a:pt x="315" y="59"/>
                    <a:pt x="289" y="59"/>
                  </a:cubicBezTo>
                  <a:cubicBezTo>
                    <a:pt x="262" y="59"/>
                    <a:pt x="241" y="81"/>
                    <a:pt x="241" y="107"/>
                  </a:cubicBezTo>
                  <a:cubicBezTo>
                    <a:pt x="241" y="134"/>
                    <a:pt x="262" y="155"/>
                    <a:pt x="289" y="155"/>
                  </a:cubicBezTo>
                  <a:close/>
                  <a:moveTo>
                    <a:pt x="552" y="448"/>
                  </a:moveTo>
                  <a:cubicBezTo>
                    <a:pt x="173" y="448"/>
                    <a:pt x="173" y="448"/>
                    <a:pt x="173" y="448"/>
                  </a:cubicBezTo>
                  <a:cubicBezTo>
                    <a:pt x="104" y="517"/>
                    <a:pt x="104" y="517"/>
                    <a:pt x="104" y="517"/>
                  </a:cubicBezTo>
                  <a:cubicBezTo>
                    <a:pt x="104" y="448"/>
                    <a:pt x="104" y="448"/>
                    <a:pt x="104" y="448"/>
                  </a:cubicBezTo>
                  <a:cubicBezTo>
                    <a:pt x="25" y="448"/>
                    <a:pt x="25" y="448"/>
                    <a:pt x="25" y="448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2" y="25"/>
                    <a:pt x="552" y="25"/>
                    <a:pt x="552" y="25"/>
                  </a:cubicBezTo>
                  <a:lnTo>
                    <a:pt x="552" y="448"/>
                  </a:lnTo>
                  <a:close/>
                  <a:moveTo>
                    <a:pt x="0" y="0"/>
                  </a:moveTo>
                  <a:cubicBezTo>
                    <a:pt x="0" y="473"/>
                    <a:pt x="0" y="473"/>
                    <a:pt x="0" y="473"/>
                  </a:cubicBezTo>
                  <a:cubicBezTo>
                    <a:pt x="79" y="473"/>
                    <a:pt x="79" y="473"/>
                    <a:pt x="79" y="473"/>
                  </a:cubicBezTo>
                  <a:cubicBezTo>
                    <a:pt x="79" y="576"/>
                    <a:pt x="79" y="576"/>
                    <a:pt x="79" y="576"/>
                  </a:cubicBezTo>
                  <a:cubicBezTo>
                    <a:pt x="183" y="473"/>
                    <a:pt x="183" y="473"/>
                    <a:pt x="183" y="473"/>
                  </a:cubicBezTo>
                  <a:cubicBezTo>
                    <a:pt x="576" y="473"/>
                    <a:pt x="576" y="473"/>
                    <a:pt x="576" y="473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600"/>
                <a:buFont typeface="Arial"/>
                <a:buNone/>
              </a:pPr>
              <a:endParaRPr sz="600" b="1" i="0" u="none" strike="noStrike" cap="none">
                <a:solidFill>
                  <a:srgbClr val="D04A0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" name="Google Shape;9186;p183">
              <a:extLst>
                <a:ext uri="{FF2B5EF4-FFF2-40B4-BE49-F238E27FC236}">
                  <a16:creationId xmlns:a16="http://schemas.microsoft.com/office/drawing/2014/main" id="{4D2629E1-ECA7-4B6E-8CCA-44C139B99C8C}"/>
                </a:ext>
              </a:extLst>
            </p:cNvPr>
            <p:cNvSpPr/>
            <p:nvPr/>
          </p:nvSpPr>
          <p:spPr>
            <a:xfrm>
              <a:off x="4004193" y="4851169"/>
              <a:ext cx="444088" cy="445350"/>
            </a:xfrm>
            <a:custGeom>
              <a:avLst/>
              <a:gdLst/>
              <a:ahLst/>
              <a:cxnLst/>
              <a:rect l="l" t="t" r="r" b="b"/>
              <a:pathLst>
                <a:path w="704" h="706" extrusionOk="0">
                  <a:moveTo>
                    <a:pt x="704" y="0"/>
                  </a:moveTo>
                  <a:lnTo>
                    <a:pt x="0" y="0"/>
                  </a:lnTo>
                  <a:lnTo>
                    <a:pt x="0" y="706"/>
                  </a:lnTo>
                  <a:lnTo>
                    <a:pt x="704" y="706"/>
                  </a:lnTo>
                  <a:lnTo>
                    <a:pt x="704" y="706"/>
                  </a:lnTo>
                  <a:lnTo>
                    <a:pt x="704" y="0"/>
                  </a:lnTo>
                  <a:lnTo>
                    <a:pt x="704" y="0"/>
                  </a:lnTo>
                  <a:close/>
                  <a:moveTo>
                    <a:pt x="30" y="677"/>
                  </a:moveTo>
                  <a:lnTo>
                    <a:pt x="30" y="31"/>
                  </a:lnTo>
                  <a:lnTo>
                    <a:pt x="675" y="31"/>
                  </a:lnTo>
                  <a:lnTo>
                    <a:pt x="675" y="677"/>
                  </a:lnTo>
                  <a:lnTo>
                    <a:pt x="30" y="677"/>
                  </a:lnTo>
                  <a:close/>
                  <a:moveTo>
                    <a:pt x="607" y="242"/>
                  </a:moveTo>
                  <a:lnTo>
                    <a:pt x="484" y="134"/>
                  </a:lnTo>
                  <a:lnTo>
                    <a:pt x="475" y="128"/>
                  </a:lnTo>
                  <a:lnTo>
                    <a:pt x="464" y="128"/>
                  </a:lnTo>
                  <a:lnTo>
                    <a:pt x="239" y="128"/>
                  </a:lnTo>
                  <a:lnTo>
                    <a:pt x="228" y="128"/>
                  </a:lnTo>
                  <a:lnTo>
                    <a:pt x="221" y="134"/>
                  </a:lnTo>
                  <a:lnTo>
                    <a:pt x="98" y="242"/>
                  </a:lnTo>
                  <a:lnTo>
                    <a:pt x="74" y="261"/>
                  </a:lnTo>
                  <a:lnTo>
                    <a:pt x="94" y="285"/>
                  </a:lnTo>
                  <a:lnTo>
                    <a:pt x="330" y="563"/>
                  </a:lnTo>
                  <a:lnTo>
                    <a:pt x="353" y="590"/>
                  </a:lnTo>
                  <a:lnTo>
                    <a:pt x="375" y="563"/>
                  </a:lnTo>
                  <a:lnTo>
                    <a:pt x="611" y="285"/>
                  </a:lnTo>
                  <a:lnTo>
                    <a:pt x="631" y="261"/>
                  </a:lnTo>
                  <a:lnTo>
                    <a:pt x="607" y="242"/>
                  </a:lnTo>
                  <a:close/>
                  <a:moveTo>
                    <a:pt x="367" y="157"/>
                  </a:moveTo>
                  <a:lnTo>
                    <a:pt x="448" y="157"/>
                  </a:lnTo>
                  <a:lnTo>
                    <a:pt x="433" y="229"/>
                  </a:lnTo>
                  <a:lnTo>
                    <a:pt x="367" y="157"/>
                  </a:lnTo>
                  <a:close/>
                  <a:moveTo>
                    <a:pt x="271" y="229"/>
                  </a:moveTo>
                  <a:lnTo>
                    <a:pt x="255" y="157"/>
                  </a:lnTo>
                  <a:lnTo>
                    <a:pt x="337" y="157"/>
                  </a:lnTo>
                  <a:lnTo>
                    <a:pt x="271" y="229"/>
                  </a:lnTo>
                  <a:close/>
                  <a:moveTo>
                    <a:pt x="352" y="185"/>
                  </a:moveTo>
                  <a:lnTo>
                    <a:pt x="412" y="250"/>
                  </a:lnTo>
                  <a:lnTo>
                    <a:pt x="292" y="250"/>
                  </a:lnTo>
                  <a:lnTo>
                    <a:pt x="352" y="185"/>
                  </a:lnTo>
                  <a:close/>
                  <a:moveTo>
                    <a:pt x="426" y="281"/>
                  </a:moveTo>
                  <a:lnTo>
                    <a:pt x="352" y="506"/>
                  </a:lnTo>
                  <a:lnTo>
                    <a:pt x="279" y="281"/>
                  </a:lnTo>
                  <a:lnTo>
                    <a:pt x="426" y="281"/>
                  </a:lnTo>
                  <a:close/>
                  <a:moveTo>
                    <a:pt x="247" y="281"/>
                  </a:moveTo>
                  <a:lnTo>
                    <a:pt x="319" y="503"/>
                  </a:lnTo>
                  <a:lnTo>
                    <a:pt x="131" y="281"/>
                  </a:lnTo>
                  <a:lnTo>
                    <a:pt x="247" y="281"/>
                  </a:lnTo>
                  <a:close/>
                  <a:moveTo>
                    <a:pt x="457" y="281"/>
                  </a:moveTo>
                  <a:lnTo>
                    <a:pt x="574" y="281"/>
                  </a:lnTo>
                  <a:lnTo>
                    <a:pt x="384" y="506"/>
                  </a:lnTo>
                  <a:lnTo>
                    <a:pt x="457" y="281"/>
                  </a:lnTo>
                  <a:close/>
                  <a:moveTo>
                    <a:pt x="458" y="250"/>
                  </a:moveTo>
                  <a:lnTo>
                    <a:pt x="478" y="168"/>
                  </a:lnTo>
                  <a:lnTo>
                    <a:pt x="571" y="250"/>
                  </a:lnTo>
                  <a:lnTo>
                    <a:pt x="458" y="250"/>
                  </a:lnTo>
                  <a:close/>
                  <a:moveTo>
                    <a:pt x="227" y="168"/>
                  </a:moveTo>
                  <a:lnTo>
                    <a:pt x="246" y="250"/>
                  </a:lnTo>
                  <a:lnTo>
                    <a:pt x="134" y="250"/>
                  </a:lnTo>
                  <a:lnTo>
                    <a:pt x="227" y="16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600"/>
                <a:buFont typeface="Arial"/>
                <a:buNone/>
              </a:pPr>
              <a:endParaRPr sz="600" b="1" i="0" u="none" strike="noStrike" cap="none">
                <a:solidFill>
                  <a:srgbClr val="D04A0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15281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16F7650-6D3C-4B60-8114-60DDC6F627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288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2B9861E-99A9-CBB2-ABC8-312DF206A2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b="1" dirty="0">
                <a:solidFill>
                  <a:schemeClr val="bg1"/>
                </a:solidFill>
              </a:rPr>
              <a:t>Training the model</a:t>
            </a:r>
          </a:p>
        </p:txBody>
      </p:sp>
      <p:cxnSp>
        <p:nvCxnSpPr>
          <p:cNvPr id="10" name="Google Shape;9255;p185">
            <a:extLst>
              <a:ext uri="{FF2B5EF4-FFF2-40B4-BE49-F238E27FC236}">
                <a16:creationId xmlns:a16="http://schemas.microsoft.com/office/drawing/2014/main" id="{C2E16931-D3F0-4754-954E-B8834726F46C}"/>
              </a:ext>
            </a:extLst>
          </p:cNvPr>
          <p:cNvCxnSpPr>
            <a:cxnSpLocks/>
          </p:cNvCxnSpPr>
          <p:nvPr/>
        </p:nvCxnSpPr>
        <p:spPr>
          <a:xfrm>
            <a:off x="2997999" y="1956347"/>
            <a:ext cx="5015291" cy="0"/>
          </a:xfrm>
          <a:prstGeom prst="straightConnector1">
            <a:avLst/>
          </a:prstGeom>
          <a:noFill/>
          <a:ln w="12700" cap="sq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" name="Google Shape;9256;p185">
            <a:extLst>
              <a:ext uri="{FF2B5EF4-FFF2-40B4-BE49-F238E27FC236}">
                <a16:creationId xmlns:a16="http://schemas.microsoft.com/office/drawing/2014/main" id="{4852A2EF-7BAC-4104-B249-EB1E200DD1EC}"/>
              </a:ext>
            </a:extLst>
          </p:cNvPr>
          <p:cNvSpPr/>
          <p:nvPr/>
        </p:nvSpPr>
        <p:spPr>
          <a:xfrm>
            <a:off x="3619533" y="1452335"/>
            <a:ext cx="2355842" cy="5331922"/>
          </a:xfrm>
          <a:custGeom>
            <a:avLst/>
            <a:gdLst/>
            <a:ahLst/>
            <a:cxnLst/>
            <a:rect l="l" t="t" r="r" b="b"/>
            <a:pathLst>
              <a:path w="10000" h="10000" extrusionOk="0">
                <a:moveTo>
                  <a:pt x="5000" y="0"/>
                </a:moveTo>
                <a:lnTo>
                  <a:pt x="5000" y="0"/>
                </a:lnTo>
                <a:lnTo>
                  <a:pt x="4641" y="6"/>
                </a:lnTo>
                <a:lnTo>
                  <a:pt x="4299" y="18"/>
                </a:lnTo>
                <a:lnTo>
                  <a:pt x="3956" y="43"/>
                </a:lnTo>
                <a:lnTo>
                  <a:pt x="3630" y="80"/>
                </a:lnTo>
                <a:lnTo>
                  <a:pt x="3302" y="116"/>
                </a:lnTo>
                <a:lnTo>
                  <a:pt x="2990" y="165"/>
                </a:lnTo>
                <a:lnTo>
                  <a:pt x="2695" y="220"/>
                </a:lnTo>
                <a:lnTo>
                  <a:pt x="2398" y="288"/>
                </a:lnTo>
                <a:lnTo>
                  <a:pt x="2118" y="361"/>
                </a:lnTo>
                <a:lnTo>
                  <a:pt x="1852" y="435"/>
                </a:lnTo>
                <a:lnTo>
                  <a:pt x="1604" y="521"/>
                </a:lnTo>
                <a:lnTo>
                  <a:pt x="1370" y="612"/>
                </a:lnTo>
                <a:lnTo>
                  <a:pt x="1152" y="710"/>
                </a:lnTo>
                <a:lnTo>
                  <a:pt x="950" y="814"/>
                </a:lnTo>
                <a:lnTo>
                  <a:pt x="762" y="925"/>
                </a:lnTo>
                <a:lnTo>
                  <a:pt x="592" y="1035"/>
                </a:lnTo>
                <a:lnTo>
                  <a:pt x="3723" y="1035"/>
                </a:lnTo>
                <a:lnTo>
                  <a:pt x="3723" y="1035"/>
                </a:lnTo>
                <a:lnTo>
                  <a:pt x="3878" y="1004"/>
                </a:lnTo>
                <a:lnTo>
                  <a:pt x="4019" y="980"/>
                </a:lnTo>
                <a:lnTo>
                  <a:pt x="4175" y="961"/>
                </a:lnTo>
                <a:lnTo>
                  <a:pt x="4331" y="943"/>
                </a:lnTo>
                <a:lnTo>
                  <a:pt x="4501" y="931"/>
                </a:lnTo>
                <a:lnTo>
                  <a:pt x="4657" y="919"/>
                </a:lnTo>
                <a:lnTo>
                  <a:pt x="4829" y="912"/>
                </a:lnTo>
                <a:lnTo>
                  <a:pt x="5000" y="912"/>
                </a:lnTo>
                <a:lnTo>
                  <a:pt x="5000" y="912"/>
                </a:lnTo>
                <a:lnTo>
                  <a:pt x="5264" y="919"/>
                </a:lnTo>
                <a:lnTo>
                  <a:pt x="5545" y="931"/>
                </a:lnTo>
                <a:lnTo>
                  <a:pt x="5794" y="955"/>
                </a:lnTo>
                <a:lnTo>
                  <a:pt x="6044" y="992"/>
                </a:lnTo>
                <a:lnTo>
                  <a:pt x="6277" y="1041"/>
                </a:lnTo>
                <a:lnTo>
                  <a:pt x="6496" y="1090"/>
                </a:lnTo>
                <a:lnTo>
                  <a:pt x="6713" y="1151"/>
                </a:lnTo>
                <a:lnTo>
                  <a:pt x="6900" y="1219"/>
                </a:lnTo>
                <a:lnTo>
                  <a:pt x="7072" y="1298"/>
                </a:lnTo>
                <a:lnTo>
                  <a:pt x="7227" y="1378"/>
                </a:lnTo>
                <a:lnTo>
                  <a:pt x="7367" y="1464"/>
                </a:lnTo>
                <a:lnTo>
                  <a:pt x="7476" y="1555"/>
                </a:lnTo>
                <a:cubicBezTo>
                  <a:pt x="7508" y="1588"/>
                  <a:pt x="7539" y="1620"/>
                  <a:pt x="7570" y="1653"/>
                </a:cubicBezTo>
                <a:cubicBezTo>
                  <a:pt x="7591" y="1688"/>
                  <a:pt x="7611" y="1723"/>
                  <a:pt x="7632" y="1758"/>
                </a:cubicBezTo>
                <a:cubicBezTo>
                  <a:pt x="7648" y="1793"/>
                  <a:pt x="7663" y="1827"/>
                  <a:pt x="7679" y="1862"/>
                </a:cubicBezTo>
                <a:cubicBezTo>
                  <a:pt x="7684" y="1899"/>
                  <a:pt x="7689" y="1935"/>
                  <a:pt x="7694" y="1972"/>
                </a:cubicBezTo>
                <a:lnTo>
                  <a:pt x="7694" y="1972"/>
                </a:lnTo>
                <a:cubicBezTo>
                  <a:pt x="7689" y="2005"/>
                  <a:pt x="7684" y="2037"/>
                  <a:pt x="7679" y="2070"/>
                </a:cubicBezTo>
                <a:cubicBezTo>
                  <a:pt x="7669" y="2101"/>
                  <a:pt x="7658" y="2131"/>
                  <a:pt x="7648" y="2162"/>
                </a:cubicBezTo>
                <a:cubicBezTo>
                  <a:pt x="7632" y="2195"/>
                  <a:pt x="7617" y="2227"/>
                  <a:pt x="7601" y="2260"/>
                </a:cubicBezTo>
                <a:lnTo>
                  <a:pt x="7539" y="2352"/>
                </a:lnTo>
                <a:lnTo>
                  <a:pt x="7445" y="2443"/>
                </a:lnTo>
                <a:cubicBezTo>
                  <a:pt x="7414" y="2474"/>
                  <a:pt x="7382" y="2504"/>
                  <a:pt x="7351" y="2535"/>
                </a:cubicBezTo>
                <a:cubicBezTo>
                  <a:pt x="7310" y="2564"/>
                  <a:pt x="7268" y="2592"/>
                  <a:pt x="7227" y="2621"/>
                </a:cubicBezTo>
                <a:cubicBezTo>
                  <a:pt x="7181" y="2652"/>
                  <a:pt x="7134" y="2682"/>
                  <a:pt x="7088" y="2713"/>
                </a:cubicBezTo>
                <a:lnTo>
                  <a:pt x="6947" y="2799"/>
                </a:lnTo>
                <a:lnTo>
                  <a:pt x="6776" y="2884"/>
                </a:lnTo>
                <a:lnTo>
                  <a:pt x="6604" y="2970"/>
                </a:lnTo>
                <a:lnTo>
                  <a:pt x="6403" y="3056"/>
                </a:lnTo>
                <a:lnTo>
                  <a:pt x="6199" y="3135"/>
                </a:lnTo>
                <a:lnTo>
                  <a:pt x="5981" y="3221"/>
                </a:lnTo>
                <a:lnTo>
                  <a:pt x="5498" y="3380"/>
                </a:lnTo>
                <a:lnTo>
                  <a:pt x="4984" y="3539"/>
                </a:lnTo>
                <a:lnTo>
                  <a:pt x="4424" y="3699"/>
                </a:lnTo>
                <a:lnTo>
                  <a:pt x="3847" y="3852"/>
                </a:lnTo>
                <a:lnTo>
                  <a:pt x="3224" y="3999"/>
                </a:lnTo>
                <a:lnTo>
                  <a:pt x="2586" y="4152"/>
                </a:lnTo>
                <a:lnTo>
                  <a:pt x="1915" y="4299"/>
                </a:lnTo>
                <a:lnTo>
                  <a:pt x="561" y="4593"/>
                </a:lnTo>
                <a:cubicBezTo>
                  <a:pt x="148" y="4718"/>
                  <a:pt x="0" y="4770"/>
                  <a:pt x="0" y="5101"/>
                </a:cubicBezTo>
                <a:lnTo>
                  <a:pt x="0" y="9363"/>
                </a:lnTo>
                <a:lnTo>
                  <a:pt x="0" y="9363"/>
                </a:lnTo>
                <a:lnTo>
                  <a:pt x="0" y="9430"/>
                </a:lnTo>
                <a:cubicBezTo>
                  <a:pt x="10" y="9451"/>
                  <a:pt x="21" y="9471"/>
                  <a:pt x="31" y="9492"/>
                </a:cubicBezTo>
                <a:cubicBezTo>
                  <a:pt x="41" y="9512"/>
                  <a:pt x="52" y="9533"/>
                  <a:pt x="62" y="9553"/>
                </a:cubicBezTo>
                <a:cubicBezTo>
                  <a:pt x="83" y="9573"/>
                  <a:pt x="103" y="9594"/>
                  <a:pt x="124" y="9614"/>
                </a:cubicBezTo>
                <a:cubicBezTo>
                  <a:pt x="145" y="9632"/>
                  <a:pt x="166" y="9651"/>
                  <a:pt x="187" y="9669"/>
                </a:cubicBezTo>
                <a:cubicBezTo>
                  <a:pt x="213" y="9685"/>
                  <a:pt x="238" y="9702"/>
                  <a:pt x="264" y="9718"/>
                </a:cubicBezTo>
                <a:cubicBezTo>
                  <a:pt x="296" y="9734"/>
                  <a:pt x="327" y="9751"/>
                  <a:pt x="358" y="9767"/>
                </a:cubicBezTo>
                <a:lnTo>
                  <a:pt x="467" y="9816"/>
                </a:lnTo>
                <a:lnTo>
                  <a:pt x="576" y="9853"/>
                </a:lnTo>
                <a:lnTo>
                  <a:pt x="700" y="9890"/>
                </a:lnTo>
                <a:lnTo>
                  <a:pt x="841" y="9927"/>
                </a:lnTo>
                <a:lnTo>
                  <a:pt x="981" y="9951"/>
                </a:lnTo>
                <a:lnTo>
                  <a:pt x="1136" y="9976"/>
                </a:lnTo>
                <a:lnTo>
                  <a:pt x="1292" y="9988"/>
                </a:lnTo>
                <a:lnTo>
                  <a:pt x="1448" y="10000"/>
                </a:lnTo>
                <a:lnTo>
                  <a:pt x="1620" y="10000"/>
                </a:lnTo>
                <a:lnTo>
                  <a:pt x="8380" y="10000"/>
                </a:lnTo>
                <a:lnTo>
                  <a:pt x="8380" y="10000"/>
                </a:lnTo>
                <a:lnTo>
                  <a:pt x="8536" y="10000"/>
                </a:lnTo>
                <a:lnTo>
                  <a:pt x="8707" y="9988"/>
                </a:lnTo>
                <a:lnTo>
                  <a:pt x="8863" y="9976"/>
                </a:lnTo>
                <a:lnTo>
                  <a:pt x="9003" y="9951"/>
                </a:lnTo>
                <a:lnTo>
                  <a:pt x="9143" y="9927"/>
                </a:lnTo>
                <a:lnTo>
                  <a:pt x="9284" y="9890"/>
                </a:lnTo>
                <a:lnTo>
                  <a:pt x="9408" y="9853"/>
                </a:lnTo>
                <a:lnTo>
                  <a:pt x="9517" y="9816"/>
                </a:lnTo>
                <a:lnTo>
                  <a:pt x="9626" y="9767"/>
                </a:lnTo>
                <a:cubicBezTo>
                  <a:pt x="9657" y="9751"/>
                  <a:pt x="9688" y="9734"/>
                  <a:pt x="9719" y="9718"/>
                </a:cubicBezTo>
                <a:cubicBezTo>
                  <a:pt x="9746" y="9702"/>
                  <a:pt x="9771" y="9685"/>
                  <a:pt x="9797" y="9669"/>
                </a:cubicBezTo>
                <a:lnTo>
                  <a:pt x="9876" y="9614"/>
                </a:lnTo>
                <a:lnTo>
                  <a:pt x="9922" y="9553"/>
                </a:lnTo>
                <a:cubicBezTo>
                  <a:pt x="9938" y="9533"/>
                  <a:pt x="9953" y="9512"/>
                  <a:pt x="9969" y="9492"/>
                </a:cubicBezTo>
                <a:cubicBezTo>
                  <a:pt x="9974" y="9471"/>
                  <a:pt x="9979" y="9451"/>
                  <a:pt x="9984" y="9430"/>
                </a:cubicBezTo>
                <a:cubicBezTo>
                  <a:pt x="9989" y="9408"/>
                  <a:pt x="9995" y="9385"/>
                  <a:pt x="10000" y="9363"/>
                </a:cubicBezTo>
                <a:lnTo>
                  <a:pt x="10000" y="2015"/>
                </a:lnTo>
                <a:lnTo>
                  <a:pt x="10000" y="2015"/>
                </a:lnTo>
                <a:lnTo>
                  <a:pt x="10000" y="1972"/>
                </a:lnTo>
                <a:lnTo>
                  <a:pt x="10000" y="1972"/>
                </a:lnTo>
                <a:lnTo>
                  <a:pt x="10000" y="1868"/>
                </a:lnTo>
                <a:cubicBezTo>
                  <a:pt x="9995" y="1835"/>
                  <a:pt x="9989" y="1803"/>
                  <a:pt x="9984" y="1770"/>
                </a:cubicBezTo>
                <a:cubicBezTo>
                  <a:pt x="9974" y="1737"/>
                  <a:pt x="9963" y="1705"/>
                  <a:pt x="9953" y="1672"/>
                </a:cubicBezTo>
                <a:cubicBezTo>
                  <a:pt x="9938" y="1639"/>
                  <a:pt x="9922" y="1607"/>
                  <a:pt x="9907" y="1574"/>
                </a:cubicBezTo>
                <a:lnTo>
                  <a:pt x="9845" y="1476"/>
                </a:lnTo>
                <a:cubicBezTo>
                  <a:pt x="9824" y="1445"/>
                  <a:pt x="9803" y="1415"/>
                  <a:pt x="9782" y="1384"/>
                </a:cubicBezTo>
                <a:cubicBezTo>
                  <a:pt x="9756" y="1353"/>
                  <a:pt x="9730" y="1323"/>
                  <a:pt x="9703" y="1292"/>
                </a:cubicBezTo>
                <a:cubicBezTo>
                  <a:pt x="9672" y="1263"/>
                  <a:pt x="9641" y="1235"/>
                  <a:pt x="9610" y="1206"/>
                </a:cubicBezTo>
                <a:lnTo>
                  <a:pt x="9502" y="1115"/>
                </a:lnTo>
                <a:cubicBezTo>
                  <a:pt x="9465" y="1088"/>
                  <a:pt x="9428" y="1062"/>
                  <a:pt x="9392" y="1035"/>
                </a:cubicBezTo>
                <a:lnTo>
                  <a:pt x="9284" y="949"/>
                </a:lnTo>
                <a:lnTo>
                  <a:pt x="9143" y="870"/>
                </a:lnTo>
                <a:lnTo>
                  <a:pt x="9003" y="796"/>
                </a:lnTo>
                <a:lnTo>
                  <a:pt x="8863" y="716"/>
                </a:lnTo>
                <a:lnTo>
                  <a:pt x="8707" y="649"/>
                </a:lnTo>
                <a:lnTo>
                  <a:pt x="8536" y="582"/>
                </a:lnTo>
                <a:lnTo>
                  <a:pt x="8364" y="514"/>
                </a:lnTo>
                <a:lnTo>
                  <a:pt x="8178" y="453"/>
                </a:lnTo>
                <a:lnTo>
                  <a:pt x="7990" y="392"/>
                </a:lnTo>
                <a:lnTo>
                  <a:pt x="7788" y="337"/>
                </a:lnTo>
                <a:lnTo>
                  <a:pt x="7586" y="288"/>
                </a:lnTo>
                <a:lnTo>
                  <a:pt x="7382" y="239"/>
                </a:lnTo>
                <a:lnTo>
                  <a:pt x="7165" y="196"/>
                </a:lnTo>
                <a:lnTo>
                  <a:pt x="6947" y="159"/>
                </a:lnTo>
                <a:lnTo>
                  <a:pt x="6713" y="122"/>
                </a:lnTo>
                <a:lnTo>
                  <a:pt x="6480" y="92"/>
                </a:lnTo>
                <a:lnTo>
                  <a:pt x="6246" y="61"/>
                </a:lnTo>
                <a:lnTo>
                  <a:pt x="5997" y="43"/>
                </a:lnTo>
                <a:lnTo>
                  <a:pt x="5763" y="24"/>
                </a:lnTo>
                <a:lnTo>
                  <a:pt x="5514" y="12"/>
                </a:lnTo>
                <a:lnTo>
                  <a:pt x="5248" y="6"/>
                </a:lnTo>
                <a:lnTo>
                  <a:pt x="5000" y="0"/>
                </a:lnTo>
                <a:lnTo>
                  <a:pt x="5000" y="0"/>
                </a:lnTo>
                <a:close/>
              </a:path>
            </a:pathLst>
          </a:custGeom>
          <a:solidFill>
            <a:srgbClr val="464646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9257;p185">
            <a:extLst>
              <a:ext uri="{FF2B5EF4-FFF2-40B4-BE49-F238E27FC236}">
                <a16:creationId xmlns:a16="http://schemas.microsoft.com/office/drawing/2014/main" id="{835F74AF-8889-4D87-BC50-62C638F10DB3}"/>
              </a:ext>
            </a:extLst>
          </p:cNvPr>
          <p:cNvSpPr/>
          <p:nvPr/>
        </p:nvSpPr>
        <p:spPr>
          <a:xfrm>
            <a:off x="6546798" y="1472813"/>
            <a:ext cx="2355842" cy="5311440"/>
          </a:xfrm>
          <a:custGeom>
            <a:avLst/>
            <a:gdLst/>
            <a:ahLst/>
            <a:cxnLst/>
            <a:rect l="l" t="t" r="r" b="b"/>
            <a:pathLst>
              <a:path w="10000" h="10000" extrusionOk="0">
                <a:moveTo>
                  <a:pt x="5000" y="0"/>
                </a:moveTo>
                <a:lnTo>
                  <a:pt x="5000" y="0"/>
                </a:lnTo>
                <a:lnTo>
                  <a:pt x="4641" y="6"/>
                </a:lnTo>
                <a:lnTo>
                  <a:pt x="4299" y="18"/>
                </a:lnTo>
                <a:lnTo>
                  <a:pt x="3956" y="43"/>
                </a:lnTo>
                <a:lnTo>
                  <a:pt x="3630" y="80"/>
                </a:lnTo>
                <a:lnTo>
                  <a:pt x="3302" y="116"/>
                </a:lnTo>
                <a:lnTo>
                  <a:pt x="2990" y="165"/>
                </a:lnTo>
                <a:lnTo>
                  <a:pt x="2695" y="220"/>
                </a:lnTo>
                <a:lnTo>
                  <a:pt x="2398" y="288"/>
                </a:lnTo>
                <a:lnTo>
                  <a:pt x="2118" y="361"/>
                </a:lnTo>
                <a:lnTo>
                  <a:pt x="1852" y="435"/>
                </a:lnTo>
                <a:lnTo>
                  <a:pt x="1604" y="521"/>
                </a:lnTo>
                <a:lnTo>
                  <a:pt x="1370" y="612"/>
                </a:lnTo>
                <a:lnTo>
                  <a:pt x="1152" y="710"/>
                </a:lnTo>
                <a:lnTo>
                  <a:pt x="950" y="814"/>
                </a:lnTo>
                <a:lnTo>
                  <a:pt x="762" y="925"/>
                </a:lnTo>
                <a:lnTo>
                  <a:pt x="592" y="1035"/>
                </a:lnTo>
                <a:lnTo>
                  <a:pt x="3723" y="1035"/>
                </a:lnTo>
                <a:lnTo>
                  <a:pt x="3723" y="1035"/>
                </a:lnTo>
                <a:lnTo>
                  <a:pt x="3878" y="1004"/>
                </a:lnTo>
                <a:lnTo>
                  <a:pt x="4019" y="980"/>
                </a:lnTo>
                <a:lnTo>
                  <a:pt x="4175" y="961"/>
                </a:lnTo>
                <a:lnTo>
                  <a:pt x="4331" y="943"/>
                </a:lnTo>
                <a:lnTo>
                  <a:pt x="4501" y="931"/>
                </a:lnTo>
                <a:lnTo>
                  <a:pt x="4657" y="919"/>
                </a:lnTo>
                <a:lnTo>
                  <a:pt x="4829" y="912"/>
                </a:lnTo>
                <a:lnTo>
                  <a:pt x="5000" y="912"/>
                </a:lnTo>
                <a:lnTo>
                  <a:pt x="5000" y="912"/>
                </a:lnTo>
                <a:lnTo>
                  <a:pt x="5264" y="919"/>
                </a:lnTo>
                <a:lnTo>
                  <a:pt x="5545" y="931"/>
                </a:lnTo>
                <a:lnTo>
                  <a:pt x="5794" y="955"/>
                </a:lnTo>
                <a:lnTo>
                  <a:pt x="6044" y="992"/>
                </a:lnTo>
                <a:lnTo>
                  <a:pt x="6277" y="1041"/>
                </a:lnTo>
                <a:lnTo>
                  <a:pt x="6496" y="1090"/>
                </a:lnTo>
                <a:lnTo>
                  <a:pt x="6713" y="1151"/>
                </a:lnTo>
                <a:lnTo>
                  <a:pt x="6900" y="1219"/>
                </a:lnTo>
                <a:lnTo>
                  <a:pt x="7072" y="1298"/>
                </a:lnTo>
                <a:lnTo>
                  <a:pt x="7227" y="1378"/>
                </a:lnTo>
                <a:lnTo>
                  <a:pt x="7367" y="1464"/>
                </a:lnTo>
                <a:lnTo>
                  <a:pt x="7476" y="1555"/>
                </a:lnTo>
                <a:cubicBezTo>
                  <a:pt x="7508" y="1588"/>
                  <a:pt x="7539" y="1620"/>
                  <a:pt x="7570" y="1653"/>
                </a:cubicBezTo>
                <a:cubicBezTo>
                  <a:pt x="7591" y="1688"/>
                  <a:pt x="7611" y="1723"/>
                  <a:pt x="7632" y="1758"/>
                </a:cubicBezTo>
                <a:cubicBezTo>
                  <a:pt x="7648" y="1793"/>
                  <a:pt x="7663" y="1827"/>
                  <a:pt x="7679" y="1862"/>
                </a:cubicBezTo>
                <a:cubicBezTo>
                  <a:pt x="7684" y="1899"/>
                  <a:pt x="7689" y="1935"/>
                  <a:pt x="7694" y="1972"/>
                </a:cubicBezTo>
                <a:lnTo>
                  <a:pt x="7694" y="1972"/>
                </a:lnTo>
                <a:cubicBezTo>
                  <a:pt x="7689" y="2005"/>
                  <a:pt x="7684" y="2037"/>
                  <a:pt x="7679" y="2070"/>
                </a:cubicBezTo>
                <a:cubicBezTo>
                  <a:pt x="7669" y="2101"/>
                  <a:pt x="7658" y="2131"/>
                  <a:pt x="7648" y="2162"/>
                </a:cubicBezTo>
                <a:cubicBezTo>
                  <a:pt x="7632" y="2195"/>
                  <a:pt x="7617" y="2227"/>
                  <a:pt x="7601" y="2260"/>
                </a:cubicBezTo>
                <a:lnTo>
                  <a:pt x="7539" y="2352"/>
                </a:lnTo>
                <a:lnTo>
                  <a:pt x="7445" y="2443"/>
                </a:lnTo>
                <a:cubicBezTo>
                  <a:pt x="7414" y="2474"/>
                  <a:pt x="7382" y="2504"/>
                  <a:pt x="7351" y="2535"/>
                </a:cubicBezTo>
                <a:cubicBezTo>
                  <a:pt x="7310" y="2564"/>
                  <a:pt x="7268" y="2592"/>
                  <a:pt x="7227" y="2621"/>
                </a:cubicBezTo>
                <a:cubicBezTo>
                  <a:pt x="7181" y="2652"/>
                  <a:pt x="7134" y="2682"/>
                  <a:pt x="7088" y="2713"/>
                </a:cubicBezTo>
                <a:lnTo>
                  <a:pt x="6947" y="2799"/>
                </a:lnTo>
                <a:lnTo>
                  <a:pt x="6776" y="2884"/>
                </a:lnTo>
                <a:lnTo>
                  <a:pt x="6604" y="2970"/>
                </a:lnTo>
                <a:lnTo>
                  <a:pt x="6403" y="3056"/>
                </a:lnTo>
                <a:lnTo>
                  <a:pt x="6199" y="3135"/>
                </a:lnTo>
                <a:lnTo>
                  <a:pt x="5981" y="3221"/>
                </a:lnTo>
                <a:lnTo>
                  <a:pt x="5498" y="3380"/>
                </a:lnTo>
                <a:lnTo>
                  <a:pt x="4984" y="3539"/>
                </a:lnTo>
                <a:lnTo>
                  <a:pt x="4424" y="3699"/>
                </a:lnTo>
                <a:lnTo>
                  <a:pt x="3847" y="3852"/>
                </a:lnTo>
                <a:lnTo>
                  <a:pt x="3224" y="3999"/>
                </a:lnTo>
                <a:lnTo>
                  <a:pt x="2586" y="4152"/>
                </a:lnTo>
                <a:lnTo>
                  <a:pt x="1915" y="4299"/>
                </a:lnTo>
                <a:lnTo>
                  <a:pt x="561" y="4593"/>
                </a:lnTo>
                <a:cubicBezTo>
                  <a:pt x="148" y="4718"/>
                  <a:pt x="0" y="4770"/>
                  <a:pt x="0" y="5101"/>
                </a:cubicBezTo>
                <a:lnTo>
                  <a:pt x="0" y="9363"/>
                </a:lnTo>
                <a:lnTo>
                  <a:pt x="0" y="9363"/>
                </a:lnTo>
                <a:lnTo>
                  <a:pt x="0" y="9430"/>
                </a:lnTo>
                <a:cubicBezTo>
                  <a:pt x="10" y="9451"/>
                  <a:pt x="21" y="9471"/>
                  <a:pt x="31" y="9492"/>
                </a:cubicBezTo>
                <a:cubicBezTo>
                  <a:pt x="41" y="9512"/>
                  <a:pt x="52" y="9533"/>
                  <a:pt x="62" y="9553"/>
                </a:cubicBezTo>
                <a:cubicBezTo>
                  <a:pt x="83" y="9573"/>
                  <a:pt x="103" y="9594"/>
                  <a:pt x="124" y="9614"/>
                </a:cubicBezTo>
                <a:cubicBezTo>
                  <a:pt x="145" y="9632"/>
                  <a:pt x="166" y="9651"/>
                  <a:pt x="187" y="9669"/>
                </a:cubicBezTo>
                <a:cubicBezTo>
                  <a:pt x="213" y="9685"/>
                  <a:pt x="238" y="9702"/>
                  <a:pt x="264" y="9718"/>
                </a:cubicBezTo>
                <a:cubicBezTo>
                  <a:pt x="296" y="9734"/>
                  <a:pt x="327" y="9751"/>
                  <a:pt x="358" y="9767"/>
                </a:cubicBezTo>
                <a:lnTo>
                  <a:pt x="467" y="9816"/>
                </a:lnTo>
                <a:lnTo>
                  <a:pt x="576" y="9853"/>
                </a:lnTo>
                <a:lnTo>
                  <a:pt x="700" y="9890"/>
                </a:lnTo>
                <a:lnTo>
                  <a:pt x="841" y="9927"/>
                </a:lnTo>
                <a:lnTo>
                  <a:pt x="981" y="9951"/>
                </a:lnTo>
                <a:lnTo>
                  <a:pt x="1136" y="9976"/>
                </a:lnTo>
                <a:lnTo>
                  <a:pt x="1292" y="9988"/>
                </a:lnTo>
                <a:lnTo>
                  <a:pt x="1448" y="10000"/>
                </a:lnTo>
                <a:lnTo>
                  <a:pt x="1620" y="10000"/>
                </a:lnTo>
                <a:lnTo>
                  <a:pt x="8380" y="10000"/>
                </a:lnTo>
                <a:lnTo>
                  <a:pt x="8380" y="10000"/>
                </a:lnTo>
                <a:lnTo>
                  <a:pt x="8536" y="10000"/>
                </a:lnTo>
                <a:lnTo>
                  <a:pt x="8707" y="9988"/>
                </a:lnTo>
                <a:lnTo>
                  <a:pt x="8863" y="9976"/>
                </a:lnTo>
                <a:lnTo>
                  <a:pt x="9003" y="9951"/>
                </a:lnTo>
                <a:lnTo>
                  <a:pt x="9143" y="9927"/>
                </a:lnTo>
                <a:lnTo>
                  <a:pt x="9284" y="9890"/>
                </a:lnTo>
                <a:lnTo>
                  <a:pt x="9408" y="9853"/>
                </a:lnTo>
                <a:lnTo>
                  <a:pt x="9517" y="9816"/>
                </a:lnTo>
                <a:lnTo>
                  <a:pt x="9626" y="9767"/>
                </a:lnTo>
                <a:cubicBezTo>
                  <a:pt x="9657" y="9751"/>
                  <a:pt x="9688" y="9734"/>
                  <a:pt x="9719" y="9718"/>
                </a:cubicBezTo>
                <a:cubicBezTo>
                  <a:pt x="9746" y="9702"/>
                  <a:pt x="9771" y="9685"/>
                  <a:pt x="9797" y="9669"/>
                </a:cubicBezTo>
                <a:lnTo>
                  <a:pt x="9876" y="9614"/>
                </a:lnTo>
                <a:lnTo>
                  <a:pt x="9922" y="9553"/>
                </a:lnTo>
                <a:cubicBezTo>
                  <a:pt x="9938" y="9533"/>
                  <a:pt x="9953" y="9512"/>
                  <a:pt x="9969" y="9492"/>
                </a:cubicBezTo>
                <a:cubicBezTo>
                  <a:pt x="9974" y="9471"/>
                  <a:pt x="9979" y="9451"/>
                  <a:pt x="9984" y="9430"/>
                </a:cubicBezTo>
                <a:cubicBezTo>
                  <a:pt x="9989" y="9408"/>
                  <a:pt x="9995" y="9385"/>
                  <a:pt x="10000" y="9363"/>
                </a:cubicBezTo>
                <a:lnTo>
                  <a:pt x="10000" y="2015"/>
                </a:lnTo>
                <a:lnTo>
                  <a:pt x="10000" y="2015"/>
                </a:lnTo>
                <a:lnTo>
                  <a:pt x="10000" y="1972"/>
                </a:lnTo>
                <a:lnTo>
                  <a:pt x="10000" y="1972"/>
                </a:lnTo>
                <a:lnTo>
                  <a:pt x="10000" y="1868"/>
                </a:lnTo>
                <a:cubicBezTo>
                  <a:pt x="9995" y="1835"/>
                  <a:pt x="9989" y="1803"/>
                  <a:pt x="9984" y="1770"/>
                </a:cubicBezTo>
                <a:cubicBezTo>
                  <a:pt x="9974" y="1737"/>
                  <a:pt x="9963" y="1705"/>
                  <a:pt x="9953" y="1672"/>
                </a:cubicBezTo>
                <a:cubicBezTo>
                  <a:pt x="9938" y="1639"/>
                  <a:pt x="9922" y="1607"/>
                  <a:pt x="9907" y="1574"/>
                </a:cubicBezTo>
                <a:lnTo>
                  <a:pt x="9845" y="1476"/>
                </a:lnTo>
                <a:cubicBezTo>
                  <a:pt x="9824" y="1445"/>
                  <a:pt x="9803" y="1415"/>
                  <a:pt x="9782" y="1384"/>
                </a:cubicBezTo>
                <a:cubicBezTo>
                  <a:pt x="9756" y="1353"/>
                  <a:pt x="9730" y="1323"/>
                  <a:pt x="9703" y="1292"/>
                </a:cubicBezTo>
                <a:cubicBezTo>
                  <a:pt x="9672" y="1263"/>
                  <a:pt x="9641" y="1235"/>
                  <a:pt x="9610" y="1206"/>
                </a:cubicBezTo>
                <a:lnTo>
                  <a:pt x="9502" y="1115"/>
                </a:lnTo>
                <a:cubicBezTo>
                  <a:pt x="9465" y="1088"/>
                  <a:pt x="9428" y="1062"/>
                  <a:pt x="9392" y="1035"/>
                </a:cubicBezTo>
                <a:lnTo>
                  <a:pt x="9284" y="949"/>
                </a:lnTo>
                <a:lnTo>
                  <a:pt x="9143" y="870"/>
                </a:lnTo>
                <a:lnTo>
                  <a:pt x="9003" y="796"/>
                </a:lnTo>
                <a:lnTo>
                  <a:pt x="8863" y="716"/>
                </a:lnTo>
                <a:lnTo>
                  <a:pt x="8707" y="649"/>
                </a:lnTo>
                <a:lnTo>
                  <a:pt x="8536" y="582"/>
                </a:lnTo>
                <a:lnTo>
                  <a:pt x="8364" y="514"/>
                </a:lnTo>
                <a:lnTo>
                  <a:pt x="8178" y="453"/>
                </a:lnTo>
                <a:lnTo>
                  <a:pt x="7990" y="392"/>
                </a:lnTo>
                <a:lnTo>
                  <a:pt x="7788" y="337"/>
                </a:lnTo>
                <a:lnTo>
                  <a:pt x="7586" y="288"/>
                </a:lnTo>
                <a:lnTo>
                  <a:pt x="7382" y="239"/>
                </a:lnTo>
                <a:lnTo>
                  <a:pt x="7165" y="196"/>
                </a:lnTo>
                <a:lnTo>
                  <a:pt x="6947" y="159"/>
                </a:lnTo>
                <a:lnTo>
                  <a:pt x="6713" y="122"/>
                </a:lnTo>
                <a:lnTo>
                  <a:pt x="6480" y="92"/>
                </a:lnTo>
                <a:lnTo>
                  <a:pt x="6246" y="61"/>
                </a:lnTo>
                <a:lnTo>
                  <a:pt x="5997" y="43"/>
                </a:lnTo>
                <a:lnTo>
                  <a:pt x="5763" y="24"/>
                </a:lnTo>
                <a:lnTo>
                  <a:pt x="5514" y="12"/>
                </a:lnTo>
                <a:lnTo>
                  <a:pt x="5248" y="6"/>
                </a:lnTo>
                <a:lnTo>
                  <a:pt x="5000" y="0"/>
                </a:lnTo>
                <a:lnTo>
                  <a:pt x="5000" y="0"/>
                </a:lnTo>
                <a:close/>
              </a:path>
            </a:pathLst>
          </a:custGeom>
          <a:solidFill>
            <a:srgbClr val="FFB60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4646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9264;p185">
            <a:extLst>
              <a:ext uri="{FF2B5EF4-FFF2-40B4-BE49-F238E27FC236}">
                <a16:creationId xmlns:a16="http://schemas.microsoft.com/office/drawing/2014/main" id="{35C07822-4A23-4A9A-994F-069AC15B0B83}"/>
              </a:ext>
            </a:extLst>
          </p:cNvPr>
          <p:cNvSpPr/>
          <p:nvPr/>
        </p:nvSpPr>
        <p:spPr>
          <a:xfrm>
            <a:off x="4057332" y="4532712"/>
            <a:ext cx="1633160" cy="22515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/>
            <a:r>
              <a:rPr lang="en-GB" sz="1600" b="0" i="0" dirty="0">
                <a:solidFill>
                  <a:srgbClr val="F1F2F2"/>
                </a:solidFill>
                <a:effectLst/>
                <a:latin typeface="-apple-system"/>
              </a:rPr>
              <a:t>Use the TF-IDF vectors obtained from the previous step as input features, and the corresponding labels (spam or ham) as the target variable.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GB" sz="28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9267;p185">
            <a:extLst>
              <a:ext uri="{FF2B5EF4-FFF2-40B4-BE49-F238E27FC236}">
                <a16:creationId xmlns:a16="http://schemas.microsoft.com/office/drawing/2014/main" id="{542302C5-75F1-4AD6-A506-71CB49C3752F}"/>
              </a:ext>
            </a:extLst>
          </p:cNvPr>
          <p:cNvSpPr/>
          <p:nvPr/>
        </p:nvSpPr>
        <p:spPr>
          <a:xfrm>
            <a:off x="6715433" y="4580536"/>
            <a:ext cx="2068570" cy="22037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/>
            <a:r>
              <a:rPr lang="en-GB" sz="1600" i="0" dirty="0">
                <a:solidFill>
                  <a:schemeClr val="bg1"/>
                </a:solidFill>
                <a:effectLst/>
                <a:latin typeface="-apple-system"/>
              </a:rPr>
              <a:t>Train an SVM classifier using the </a:t>
            </a:r>
            <a:r>
              <a:rPr lang="en-GB" sz="1600" i="0" dirty="0" err="1">
                <a:solidFill>
                  <a:schemeClr val="bg1"/>
                </a:solidFill>
                <a:effectLst/>
                <a:latin typeface="-apple-system"/>
              </a:rPr>
              <a:t>labeled</a:t>
            </a:r>
            <a:r>
              <a:rPr lang="en-GB" sz="1600" i="0" dirty="0">
                <a:solidFill>
                  <a:schemeClr val="bg1"/>
                </a:solidFill>
                <a:effectLst/>
                <a:latin typeface="-apple-system"/>
              </a:rPr>
              <a:t> training data. SVM is a supervised learning algorithm that aims to find an optimal hyperplane to separate different classes.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800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" name="Google Shape;9275;p185">
            <a:extLst>
              <a:ext uri="{FF2B5EF4-FFF2-40B4-BE49-F238E27FC236}">
                <a16:creationId xmlns:a16="http://schemas.microsoft.com/office/drawing/2014/main" id="{685CCE9B-97FD-4537-84D6-51C97B670D9D}"/>
              </a:ext>
            </a:extLst>
          </p:cNvPr>
          <p:cNvSpPr txBox="1"/>
          <p:nvPr/>
        </p:nvSpPr>
        <p:spPr>
          <a:xfrm>
            <a:off x="5174491" y="3089351"/>
            <a:ext cx="669324" cy="4993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3200" b="1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01</a:t>
            </a:r>
            <a:endParaRPr dirty="0"/>
          </a:p>
        </p:txBody>
      </p:sp>
      <p:sp>
        <p:nvSpPr>
          <p:cNvPr id="36" name="Google Shape;9276;p185">
            <a:extLst>
              <a:ext uri="{FF2B5EF4-FFF2-40B4-BE49-F238E27FC236}">
                <a16:creationId xmlns:a16="http://schemas.microsoft.com/office/drawing/2014/main" id="{7C68078F-8377-46BE-8ACC-533D2DBACCF9}"/>
              </a:ext>
            </a:extLst>
          </p:cNvPr>
          <p:cNvSpPr txBox="1"/>
          <p:nvPr/>
        </p:nvSpPr>
        <p:spPr>
          <a:xfrm>
            <a:off x="8191054" y="2941867"/>
            <a:ext cx="625900" cy="5876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32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02</a:t>
            </a:r>
            <a:endParaRPr dirty="0"/>
          </a:p>
        </p:txBody>
      </p:sp>
      <p:sp>
        <p:nvSpPr>
          <p:cNvPr id="37" name="Google Shape;9279;p185">
            <a:extLst>
              <a:ext uri="{FF2B5EF4-FFF2-40B4-BE49-F238E27FC236}">
                <a16:creationId xmlns:a16="http://schemas.microsoft.com/office/drawing/2014/main" id="{52925AA9-2CF5-4DD7-88F8-5F3F6F7BE993}"/>
              </a:ext>
            </a:extLst>
          </p:cNvPr>
          <p:cNvSpPr/>
          <p:nvPr/>
        </p:nvSpPr>
        <p:spPr>
          <a:xfrm>
            <a:off x="4472654" y="3873832"/>
            <a:ext cx="548640" cy="54864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5" y="551"/>
                  <a:pt x="25" y="551"/>
                  <a:pt x="25" y="551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lnTo>
                  <a:pt x="551" y="551"/>
                </a:lnTo>
                <a:close/>
                <a:moveTo>
                  <a:pt x="300" y="513"/>
                </a:moveTo>
                <a:cubicBezTo>
                  <a:pt x="276" y="513"/>
                  <a:pt x="276" y="513"/>
                  <a:pt x="276" y="513"/>
                </a:cubicBezTo>
                <a:cubicBezTo>
                  <a:pt x="276" y="447"/>
                  <a:pt x="276" y="447"/>
                  <a:pt x="276" y="447"/>
                </a:cubicBezTo>
                <a:cubicBezTo>
                  <a:pt x="251" y="458"/>
                  <a:pt x="205" y="474"/>
                  <a:pt x="156" y="469"/>
                </a:cubicBezTo>
                <a:cubicBezTo>
                  <a:pt x="140" y="468"/>
                  <a:pt x="140" y="468"/>
                  <a:pt x="140" y="468"/>
                </a:cubicBezTo>
                <a:cubicBezTo>
                  <a:pt x="145" y="453"/>
                  <a:pt x="145" y="453"/>
                  <a:pt x="145" y="453"/>
                </a:cubicBezTo>
                <a:cubicBezTo>
                  <a:pt x="153" y="433"/>
                  <a:pt x="163" y="417"/>
                  <a:pt x="173" y="407"/>
                </a:cubicBezTo>
                <a:cubicBezTo>
                  <a:pt x="136" y="400"/>
                  <a:pt x="72" y="381"/>
                  <a:pt x="55" y="336"/>
                </a:cubicBezTo>
                <a:cubicBezTo>
                  <a:pt x="51" y="326"/>
                  <a:pt x="51" y="326"/>
                  <a:pt x="51" y="326"/>
                </a:cubicBezTo>
                <a:cubicBezTo>
                  <a:pt x="60" y="321"/>
                  <a:pt x="60" y="321"/>
                  <a:pt x="60" y="321"/>
                </a:cubicBezTo>
                <a:cubicBezTo>
                  <a:pt x="86" y="305"/>
                  <a:pt x="132" y="309"/>
                  <a:pt x="165" y="314"/>
                </a:cubicBezTo>
                <a:cubicBezTo>
                  <a:pt x="141" y="284"/>
                  <a:pt x="108" y="232"/>
                  <a:pt x="108" y="172"/>
                </a:cubicBezTo>
                <a:cubicBezTo>
                  <a:pt x="108" y="157"/>
                  <a:pt x="108" y="157"/>
                  <a:pt x="108" y="157"/>
                </a:cubicBezTo>
                <a:cubicBezTo>
                  <a:pt x="122" y="160"/>
                  <a:pt x="122" y="160"/>
                  <a:pt x="122" y="160"/>
                </a:cubicBezTo>
                <a:cubicBezTo>
                  <a:pt x="169" y="170"/>
                  <a:pt x="209" y="209"/>
                  <a:pt x="234" y="241"/>
                </a:cubicBezTo>
                <a:cubicBezTo>
                  <a:pt x="232" y="198"/>
                  <a:pt x="238" y="137"/>
                  <a:pt x="278" y="80"/>
                </a:cubicBezTo>
                <a:cubicBezTo>
                  <a:pt x="288" y="66"/>
                  <a:pt x="288" y="66"/>
                  <a:pt x="288" y="66"/>
                </a:cubicBezTo>
                <a:cubicBezTo>
                  <a:pt x="298" y="80"/>
                  <a:pt x="298" y="80"/>
                  <a:pt x="298" y="80"/>
                </a:cubicBezTo>
                <a:cubicBezTo>
                  <a:pt x="338" y="137"/>
                  <a:pt x="344" y="198"/>
                  <a:pt x="342" y="241"/>
                </a:cubicBezTo>
                <a:cubicBezTo>
                  <a:pt x="367" y="209"/>
                  <a:pt x="407" y="170"/>
                  <a:pt x="454" y="160"/>
                </a:cubicBezTo>
                <a:cubicBezTo>
                  <a:pt x="468" y="157"/>
                  <a:pt x="468" y="157"/>
                  <a:pt x="468" y="157"/>
                </a:cubicBezTo>
                <a:cubicBezTo>
                  <a:pt x="468" y="172"/>
                  <a:pt x="468" y="172"/>
                  <a:pt x="468" y="172"/>
                </a:cubicBezTo>
                <a:cubicBezTo>
                  <a:pt x="468" y="232"/>
                  <a:pt x="435" y="284"/>
                  <a:pt x="411" y="314"/>
                </a:cubicBezTo>
                <a:cubicBezTo>
                  <a:pt x="444" y="309"/>
                  <a:pt x="490" y="305"/>
                  <a:pt x="516" y="321"/>
                </a:cubicBezTo>
                <a:cubicBezTo>
                  <a:pt x="525" y="326"/>
                  <a:pt x="525" y="326"/>
                  <a:pt x="525" y="326"/>
                </a:cubicBezTo>
                <a:cubicBezTo>
                  <a:pt x="521" y="336"/>
                  <a:pt x="521" y="336"/>
                  <a:pt x="521" y="336"/>
                </a:cubicBezTo>
                <a:cubicBezTo>
                  <a:pt x="504" y="381"/>
                  <a:pt x="440" y="400"/>
                  <a:pt x="403" y="407"/>
                </a:cubicBezTo>
                <a:cubicBezTo>
                  <a:pt x="413" y="417"/>
                  <a:pt x="423" y="433"/>
                  <a:pt x="431" y="453"/>
                </a:cubicBezTo>
                <a:cubicBezTo>
                  <a:pt x="436" y="468"/>
                  <a:pt x="436" y="468"/>
                  <a:pt x="436" y="468"/>
                </a:cubicBezTo>
                <a:cubicBezTo>
                  <a:pt x="420" y="469"/>
                  <a:pt x="420" y="469"/>
                  <a:pt x="420" y="469"/>
                </a:cubicBezTo>
                <a:cubicBezTo>
                  <a:pt x="371" y="474"/>
                  <a:pt x="325" y="458"/>
                  <a:pt x="300" y="447"/>
                </a:cubicBezTo>
                <a:lnTo>
                  <a:pt x="300" y="513"/>
                </a:lnTo>
                <a:close/>
                <a:moveTo>
                  <a:pt x="84" y="337"/>
                </a:moveTo>
                <a:cubicBezTo>
                  <a:pt x="108" y="370"/>
                  <a:pt x="175" y="384"/>
                  <a:pt x="201" y="386"/>
                </a:cubicBezTo>
                <a:cubicBezTo>
                  <a:pt x="235" y="390"/>
                  <a:pt x="235" y="390"/>
                  <a:pt x="235" y="390"/>
                </a:cubicBezTo>
                <a:cubicBezTo>
                  <a:pt x="206" y="409"/>
                  <a:pt x="206" y="409"/>
                  <a:pt x="206" y="409"/>
                </a:cubicBezTo>
                <a:cubicBezTo>
                  <a:pt x="206" y="409"/>
                  <a:pt x="189" y="421"/>
                  <a:pt x="175" y="446"/>
                </a:cubicBezTo>
                <a:cubicBezTo>
                  <a:pt x="232" y="445"/>
                  <a:pt x="281" y="417"/>
                  <a:pt x="282" y="416"/>
                </a:cubicBezTo>
                <a:cubicBezTo>
                  <a:pt x="288" y="413"/>
                  <a:pt x="288" y="413"/>
                  <a:pt x="288" y="413"/>
                </a:cubicBezTo>
                <a:cubicBezTo>
                  <a:pt x="300" y="419"/>
                  <a:pt x="300" y="419"/>
                  <a:pt x="300" y="419"/>
                </a:cubicBezTo>
                <a:cubicBezTo>
                  <a:pt x="315" y="427"/>
                  <a:pt x="355" y="445"/>
                  <a:pt x="401" y="446"/>
                </a:cubicBezTo>
                <a:cubicBezTo>
                  <a:pt x="387" y="421"/>
                  <a:pt x="370" y="409"/>
                  <a:pt x="370" y="409"/>
                </a:cubicBezTo>
                <a:cubicBezTo>
                  <a:pt x="342" y="390"/>
                  <a:pt x="342" y="390"/>
                  <a:pt x="342" y="390"/>
                </a:cubicBezTo>
                <a:cubicBezTo>
                  <a:pt x="375" y="386"/>
                  <a:pt x="375" y="386"/>
                  <a:pt x="375" y="386"/>
                </a:cubicBezTo>
                <a:cubicBezTo>
                  <a:pt x="401" y="384"/>
                  <a:pt x="468" y="370"/>
                  <a:pt x="492" y="337"/>
                </a:cubicBezTo>
                <a:cubicBezTo>
                  <a:pt x="460" y="329"/>
                  <a:pt x="402" y="340"/>
                  <a:pt x="380" y="346"/>
                </a:cubicBezTo>
                <a:cubicBezTo>
                  <a:pt x="332" y="358"/>
                  <a:pt x="332" y="358"/>
                  <a:pt x="332" y="358"/>
                </a:cubicBezTo>
                <a:cubicBezTo>
                  <a:pt x="368" y="325"/>
                  <a:pt x="368" y="325"/>
                  <a:pt x="368" y="325"/>
                </a:cubicBezTo>
                <a:cubicBezTo>
                  <a:pt x="369" y="324"/>
                  <a:pt x="434" y="263"/>
                  <a:pt x="443" y="189"/>
                </a:cubicBezTo>
                <a:cubicBezTo>
                  <a:pt x="379" y="213"/>
                  <a:pt x="310" y="328"/>
                  <a:pt x="303" y="334"/>
                </a:cubicBezTo>
                <a:cubicBezTo>
                  <a:pt x="304" y="327"/>
                  <a:pt x="338" y="197"/>
                  <a:pt x="288" y="110"/>
                </a:cubicBezTo>
                <a:cubicBezTo>
                  <a:pt x="237" y="197"/>
                  <a:pt x="271" y="325"/>
                  <a:pt x="273" y="334"/>
                </a:cubicBezTo>
                <a:cubicBezTo>
                  <a:pt x="267" y="328"/>
                  <a:pt x="197" y="213"/>
                  <a:pt x="133" y="189"/>
                </a:cubicBezTo>
                <a:cubicBezTo>
                  <a:pt x="142" y="264"/>
                  <a:pt x="207" y="324"/>
                  <a:pt x="208" y="325"/>
                </a:cubicBezTo>
                <a:cubicBezTo>
                  <a:pt x="244" y="358"/>
                  <a:pt x="244" y="358"/>
                  <a:pt x="244" y="358"/>
                </a:cubicBezTo>
                <a:cubicBezTo>
                  <a:pt x="196" y="346"/>
                  <a:pt x="196" y="346"/>
                  <a:pt x="196" y="346"/>
                </a:cubicBezTo>
                <a:cubicBezTo>
                  <a:pt x="174" y="340"/>
                  <a:pt x="115" y="329"/>
                  <a:pt x="84" y="337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8" name="Google Shape;9282;p185">
            <a:extLst>
              <a:ext uri="{FF2B5EF4-FFF2-40B4-BE49-F238E27FC236}">
                <a16:creationId xmlns:a16="http://schemas.microsoft.com/office/drawing/2014/main" id="{D99C847A-10CE-44D6-9CB7-1522BF31DED0}"/>
              </a:ext>
            </a:extLst>
          </p:cNvPr>
          <p:cNvGrpSpPr/>
          <p:nvPr/>
        </p:nvGrpSpPr>
        <p:grpSpPr>
          <a:xfrm>
            <a:off x="7437051" y="3934275"/>
            <a:ext cx="548640" cy="548640"/>
            <a:chOff x="10418558" y="4634724"/>
            <a:chExt cx="457200" cy="457200"/>
          </a:xfrm>
        </p:grpSpPr>
        <p:sp>
          <p:nvSpPr>
            <p:cNvPr id="39" name="Google Shape;9283;p185">
              <a:extLst>
                <a:ext uri="{FF2B5EF4-FFF2-40B4-BE49-F238E27FC236}">
                  <a16:creationId xmlns:a16="http://schemas.microsoft.com/office/drawing/2014/main" id="{A23BE47A-37DA-4D34-BB03-B8E344D0F24D}"/>
                </a:ext>
              </a:extLst>
            </p:cNvPr>
            <p:cNvSpPr/>
            <p:nvPr/>
          </p:nvSpPr>
          <p:spPr>
            <a:xfrm>
              <a:off x="10623255" y="4833696"/>
              <a:ext cx="200212" cy="200283"/>
            </a:xfrm>
            <a:custGeom>
              <a:avLst/>
              <a:gdLst/>
              <a:ahLst/>
              <a:cxnLst/>
              <a:rect l="l" t="t" r="r" b="b"/>
              <a:pathLst>
                <a:path w="200212" h="200283" extrusionOk="0">
                  <a:moveTo>
                    <a:pt x="58478" y="63123"/>
                  </a:moveTo>
                  <a:lnTo>
                    <a:pt x="16219" y="105383"/>
                  </a:lnTo>
                  <a:cubicBezTo>
                    <a:pt x="-5406" y="127150"/>
                    <a:pt x="-5406" y="162291"/>
                    <a:pt x="16219" y="184059"/>
                  </a:cubicBezTo>
                  <a:lnTo>
                    <a:pt x="16219" y="184059"/>
                  </a:lnTo>
                  <a:cubicBezTo>
                    <a:pt x="26674" y="194508"/>
                    <a:pt x="40870" y="200350"/>
                    <a:pt x="55652" y="200283"/>
                  </a:cubicBezTo>
                  <a:cubicBezTo>
                    <a:pt x="56636" y="200283"/>
                    <a:pt x="57621" y="200283"/>
                    <a:pt x="58573" y="200283"/>
                  </a:cubicBezTo>
                  <a:cubicBezTo>
                    <a:pt x="65241" y="199864"/>
                    <a:pt x="71780" y="198251"/>
                    <a:pt x="77877" y="195521"/>
                  </a:cubicBezTo>
                  <a:cubicBezTo>
                    <a:pt x="84176" y="192794"/>
                    <a:pt x="89906" y="188904"/>
                    <a:pt x="94768" y="184059"/>
                  </a:cubicBezTo>
                  <a:lnTo>
                    <a:pt x="185319" y="93508"/>
                  </a:lnTo>
                  <a:cubicBezTo>
                    <a:pt x="206242" y="71012"/>
                    <a:pt x="204963" y="35815"/>
                    <a:pt x="182468" y="14893"/>
                  </a:cubicBezTo>
                  <a:cubicBezTo>
                    <a:pt x="161142" y="-4941"/>
                    <a:pt x="128128" y="-4967"/>
                    <a:pt x="106770" y="14832"/>
                  </a:cubicBezTo>
                  <a:lnTo>
                    <a:pt x="77877" y="43597"/>
                  </a:lnTo>
                  <a:close/>
                  <a:moveTo>
                    <a:pt x="81052" y="170248"/>
                  </a:moveTo>
                  <a:cubicBezTo>
                    <a:pt x="74985" y="176277"/>
                    <a:pt x="66974" y="179957"/>
                    <a:pt x="58446" y="180630"/>
                  </a:cubicBezTo>
                  <a:cubicBezTo>
                    <a:pt x="57494" y="180630"/>
                    <a:pt x="56509" y="180630"/>
                    <a:pt x="55525" y="180630"/>
                  </a:cubicBezTo>
                  <a:cubicBezTo>
                    <a:pt x="35588" y="180525"/>
                    <a:pt x="19511" y="164279"/>
                    <a:pt x="19615" y="144343"/>
                  </a:cubicBezTo>
                  <a:cubicBezTo>
                    <a:pt x="19664" y="134862"/>
                    <a:pt x="23439" y="125785"/>
                    <a:pt x="30125" y="119067"/>
                  </a:cubicBezTo>
                  <a:lnTo>
                    <a:pt x="43333" y="105827"/>
                  </a:lnTo>
                  <a:lnTo>
                    <a:pt x="58478" y="120972"/>
                  </a:lnTo>
                  <a:lnTo>
                    <a:pt x="77877" y="140562"/>
                  </a:lnTo>
                  <a:lnTo>
                    <a:pt x="94260" y="156945"/>
                  </a:lnTo>
                  <a:close/>
                  <a:moveTo>
                    <a:pt x="120549" y="28643"/>
                  </a:moveTo>
                  <a:cubicBezTo>
                    <a:pt x="134646" y="14545"/>
                    <a:pt x="157506" y="14545"/>
                    <a:pt x="171603" y="28643"/>
                  </a:cubicBezTo>
                  <a:cubicBezTo>
                    <a:pt x="185700" y="42741"/>
                    <a:pt x="185700" y="65599"/>
                    <a:pt x="171603" y="79697"/>
                  </a:cubicBezTo>
                  <a:lnTo>
                    <a:pt x="158332" y="93127"/>
                  </a:lnTo>
                  <a:lnTo>
                    <a:pt x="107278" y="41946"/>
                  </a:lnTo>
                  <a:close/>
                  <a:moveTo>
                    <a:pt x="144552" y="106811"/>
                  </a:moveTo>
                  <a:lnTo>
                    <a:pt x="108198" y="143133"/>
                  </a:lnTo>
                  <a:lnTo>
                    <a:pt x="77877" y="112971"/>
                  </a:lnTo>
                  <a:lnTo>
                    <a:pt x="58478" y="93445"/>
                  </a:lnTo>
                  <a:lnTo>
                    <a:pt x="57144" y="92079"/>
                  </a:lnTo>
                  <a:lnTo>
                    <a:pt x="58478" y="90746"/>
                  </a:lnTo>
                  <a:lnTo>
                    <a:pt x="77877" y="71220"/>
                  </a:lnTo>
                  <a:lnTo>
                    <a:pt x="93339" y="55757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0" name="Google Shape;9284;p185">
              <a:extLst>
                <a:ext uri="{FF2B5EF4-FFF2-40B4-BE49-F238E27FC236}">
                  <a16:creationId xmlns:a16="http://schemas.microsoft.com/office/drawing/2014/main" id="{4FD9C5D2-40D4-4B77-93D0-113459E53559}"/>
                </a:ext>
              </a:extLst>
            </p:cNvPr>
            <p:cNvSpPr/>
            <p:nvPr/>
          </p:nvSpPr>
          <p:spPr>
            <a:xfrm rot="-2700000">
              <a:off x="10713811" y="4917672"/>
              <a:ext cx="19526" cy="29210"/>
            </a:xfrm>
            <a:custGeom>
              <a:avLst/>
              <a:gdLst/>
              <a:ahLst/>
              <a:cxnLst/>
              <a:rect l="l" t="t" r="r" b="b"/>
              <a:pathLst>
                <a:path w="19526" h="29210" extrusionOk="0">
                  <a:moveTo>
                    <a:pt x="0" y="0"/>
                  </a:moveTo>
                  <a:lnTo>
                    <a:pt x="19526" y="0"/>
                  </a:lnTo>
                  <a:lnTo>
                    <a:pt x="19526" y="29210"/>
                  </a:lnTo>
                  <a:lnTo>
                    <a:pt x="0" y="2921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1" name="Google Shape;9285;p185">
              <a:extLst>
                <a:ext uri="{FF2B5EF4-FFF2-40B4-BE49-F238E27FC236}">
                  <a16:creationId xmlns:a16="http://schemas.microsoft.com/office/drawing/2014/main" id="{FFB56A68-1C12-4A10-A4E7-846EC804630D}"/>
                </a:ext>
              </a:extLst>
            </p:cNvPr>
            <p:cNvSpPr/>
            <p:nvPr/>
          </p:nvSpPr>
          <p:spPr>
            <a:xfrm>
              <a:off x="10418558" y="4634724"/>
              <a:ext cx="457200" cy="457200"/>
            </a:xfrm>
            <a:custGeom>
              <a:avLst/>
              <a:gdLst/>
              <a:ahLst/>
              <a:cxnLst/>
              <a:rect l="l" t="t" r="r" b="b"/>
              <a:pathLst>
                <a:path w="457200" h="457200" extrusionOk="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437674" y="437674"/>
                  </a:moveTo>
                  <a:lnTo>
                    <a:pt x="282575" y="437674"/>
                  </a:lnTo>
                  <a:lnTo>
                    <a:pt x="282575" y="414020"/>
                  </a:lnTo>
                  <a:cubicBezTo>
                    <a:pt x="276400" y="416731"/>
                    <a:pt x="269784" y="418303"/>
                    <a:pt x="263049" y="418656"/>
                  </a:cubicBezTo>
                  <a:lnTo>
                    <a:pt x="263049" y="437706"/>
                  </a:lnTo>
                  <a:lnTo>
                    <a:pt x="85249" y="437706"/>
                  </a:lnTo>
                  <a:lnTo>
                    <a:pt x="85249" y="399288"/>
                  </a:lnTo>
                  <a:lnTo>
                    <a:pt x="174149" y="399288"/>
                  </a:lnTo>
                  <a:lnTo>
                    <a:pt x="174149" y="228600"/>
                  </a:lnTo>
                  <a:lnTo>
                    <a:pt x="85249" y="228600"/>
                  </a:lnTo>
                  <a:lnTo>
                    <a:pt x="85249" y="183864"/>
                  </a:lnTo>
                  <a:lnTo>
                    <a:pt x="263049" y="183864"/>
                  </a:lnTo>
                  <a:lnTo>
                    <a:pt x="263049" y="236125"/>
                  </a:lnTo>
                  <a:lnTo>
                    <a:pt x="276225" y="223044"/>
                  </a:lnTo>
                  <a:lnTo>
                    <a:pt x="282575" y="216694"/>
                  </a:lnTo>
                  <a:lnTo>
                    <a:pt x="282575" y="164338"/>
                  </a:lnTo>
                  <a:lnTo>
                    <a:pt x="222250" y="164338"/>
                  </a:lnTo>
                  <a:lnTo>
                    <a:pt x="222250" y="142272"/>
                  </a:lnTo>
                  <a:lnTo>
                    <a:pt x="243396" y="142272"/>
                  </a:lnTo>
                  <a:lnTo>
                    <a:pt x="243396" y="121761"/>
                  </a:lnTo>
                  <a:cubicBezTo>
                    <a:pt x="243396" y="100719"/>
                    <a:pt x="226338" y="83661"/>
                    <a:pt x="205296" y="83661"/>
                  </a:cubicBezTo>
                  <a:lnTo>
                    <a:pt x="142875" y="83661"/>
                  </a:lnTo>
                  <a:cubicBezTo>
                    <a:pt x="121833" y="83661"/>
                    <a:pt x="104775" y="100719"/>
                    <a:pt x="104775" y="121761"/>
                  </a:cubicBezTo>
                  <a:lnTo>
                    <a:pt x="104775" y="142272"/>
                  </a:lnTo>
                  <a:lnTo>
                    <a:pt x="125889" y="142272"/>
                  </a:lnTo>
                  <a:lnTo>
                    <a:pt x="125889" y="164338"/>
                  </a:lnTo>
                  <a:lnTo>
                    <a:pt x="65564" y="164338"/>
                  </a:lnTo>
                  <a:lnTo>
                    <a:pt x="65564" y="437674"/>
                  </a:lnTo>
                  <a:lnTo>
                    <a:pt x="19526" y="437674"/>
                  </a:lnTo>
                  <a:lnTo>
                    <a:pt x="19526" y="19526"/>
                  </a:lnTo>
                  <a:lnTo>
                    <a:pt x="437674" y="19526"/>
                  </a:lnTo>
                  <a:close/>
                  <a:moveTo>
                    <a:pt x="85249" y="379730"/>
                  </a:moveTo>
                  <a:lnTo>
                    <a:pt x="85249" y="248126"/>
                  </a:lnTo>
                  <a:lnTo>
                    <a:pt x="154718" y="248126"/>
                  </a:lnTo>
                  <a:lnTo>
                    <a:pt x="154718" y="379730"/>
                  </a:lnTo>
                  <a:close/>
                  <a:moveTo>
                    <a:pt x="145574" y="122746"/>
                  </a:moveTo>
                  <a:lnTo>
                    <a:pt x="124397" y="122746"/>
                  </a:lnTo>
                  <a:lnTo>
                    <a:pt x="124397" y="121761"/>
                  </a:lnTo>
                  <a:cubicBezTo>
                    <a:pt x="124397" y="111540"/>
                    <a:pt x="132654" y="103240"/>
                    <a:pt x="142875" y="103188"/>
                  </a:cubicBezTo>
                  <a:lnTo>
                    <a:pt x="205550" y="103188"/>
                  </a:lnTo>
                  <a:cubicBezTo>
                    <a:pt x="215800" y="103205"/>
                    <a:pt x="224106" y="111510"/>
                    <a:pt x="224123" y="121761"/>
                  </a:cubicBezTo>
                  <a:lnTo>
                    <a:pt x="224123" y="122746"/>
                  </a:lnTo>
                  <a:lnTo>
                    <a:pt x="145510" y="122746"/>
                  </a:lnTo>
                  <a:close/>
                  <a:moveTo>
                    <a:pt x="203041" y="142272"/>
                  </a:moveTo>
                  <a:lnTo>
                    <a:pt x="203041" y="164338"/>
                  </a:lnTo>
                  <a:lnTo>
                    <a:pt x="145510" y="164338"/>
                  </a:lnTo>
                  <a:lnTo>
                    <a:pt x="145510" y="142272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2" name="Google Shape;9286;p185">
              <a:extLst>
                <a:ext uri="{FF2B5EF4-FFF2-40B4-BE49-F238E27FC236}">
                  <a16:creationId xmlns:a16="http://schemas.microsoft.com/office/drawing/2014/main" id="{141C18C6-630B-4613-9E16-6B583BA50AB2}"/>
                </a:ext>
              </a:extLst>
            </p:cNvPr>
            <p:cNvSpPr/>
            <p:nvPr/>
          </p:nvSpPr>
          <p:spPr>
            <a:xfrm>
              <a:off x="10730501" y="4699652"/>
              <a:ext cx="72485" cy="72485"/>
            </a:xfrm>
            <a:custGeom>
              <a:avLst/>
              <a:gdLst/>
              <a:ahLst/>
              <a:cxnLst/>
              <a:rect l="l" t="t" r="r" b="b"/>
              <a:pathLst>
                <a:path w="72485" h="72485" extrusionOk="0">
                  <a:moveTo>
                    <a:pt x="26479" y="72485"/>
                  </a:moveTo>
                  <a:lnTo>
                    <a:pt x="46006" y="72485"/>
                  </a:lnTo>
                  <a:lnTo>
                    <a:pt x="46006" y="46038"/>
                  </a:lnTo>
                  <a:lnTo>
                    <a:pt x="72485" y="46038"/>
                  </a:lnTo>
                  <a:lnTo>
                    <a:pt x="72485" y="26511"/>
                  </a:lnTo>
                  <a:lnTo>
                    <a:pt x="46006" y="26511"/>
                  </a:lnTo>
                  <a:lnTo>
                    <a:pt x="46006" y="0"/>
                  </a:lnTo>
                  <a:lnTo>
                    <a:pt x="26479" y="0"/>
                  </a:lnTo>
                  <a:lnTo>
                    <a:pt x="26479" y="26511"/>
                  </a:lnTo>
                  <a:lnTo>
                    <a:pt x="0" y="26511"/>
                  </a:lnTo>
                  <a:lnTo>
                    <a:pt x="0" y="46038"/>
                  </a:lnTo>
                  <a:lnTo>
                    <a:pt x="26479" y="46038"/>
                  </a:lnTo>
                  <a:lnTo>
                    <a:pt x="26479" y="72485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0613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579D57A-6F6D-464E-BB76-FB0ECFE953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454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AD254D-0E8F-BAAC-03ED-CAF33AEAFE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b="1" dirty="0">
                <a:solidFill>
                  <a:schemeClr val="bg1"/>
                </a:solidFill>
              </a:rPr>
              <a:t>Model Accurac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3D5C325-6E23-0002-4318-6362838F8B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05703" y="5711802"/>
            <a:ext cx="3490262" cy="693480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</p:spPr>
      </p:pic>
      <p:grpSp>
        <p:nvGrpSpPr>
          <p:cNvPr id="11" name="Google Shape;9294;p186">
            <a:extLst>
              <a:ext uri="{FF2B5EF4-FFF2-40B4-BE49-F238E27FC236}">
                <a16:creationId xmlns:a16="http://schemas.microsoft.com/office/drawing/2014/main" id="{E5F1A865-869C-4905-B2F2-0F87CD222CA1}"/>
              </a:ext>
            </a:extLst>
          </p:cNvPr>
          <p:cNvGrpSpPr/>
          <p:nvPr/>
        </p:nvGrpSpPr>
        <p:grpSpPr>
          <a:xfrm>
            <a:off x="2655372" y="1559609"/>
            <a:ext cx="6783596" cy="3916959"/>
            <a:chOff x="2655372" y="1559609"/>
            <a:chExt cx="6157914" cy="3319507"/>
          </a:xfrm>
        </p:grpSpPr>
        <p:sp>
          <p:nvSpPr>
            <p:cNvPr id="12" name="Google Shape;9295;p186">
              <a:extLst>
                <a:ext uri="{FF2B5EF4-FFF2-40B4-BE49-F238E27FC236}">
                  <a16:creationId xmlns:a16="http://schemas.microsoft.com/office/drawing/2014/main" id="{18277E4A-DFC0-47DD-A88C-9A8C229E9F4F}"/>
                </a:ext>
              </a:extLst>
            </p:cNvPr>
            <p:cNvSpPr/>
            <p:nvPr/>
          </p:nvSpPr>
          <p:spPr>
            <a:xfrm>
              <a:off x="4114286" y="1559609"/>
              <a:ext cx="4699000" cy="2016224"/>
            </a:xfrm>
            <a:custGeom>
              <a:avLst/>
              <a:gdLst/>
              <a:ahLst/>
              <a:cxnLst/>
              <a:rect l="l" t="t" r="r" b="b"/>
              <a:pathLst>
                <a:path w="4699000" h="2016224" extrusionOk="0">
                  <a:moveTo>
                    <a:pt x="1008112" y="0"/>
                  </a:moveTo>
                  <a:cubicBezTo>
                    <a:pt x="1393514" y="0"/>
                    <a:pt x="1728404" y="216269"/>
                    <a:pt x="1897748" y="534224"/>
                  </a:cubicBezTo>
                  <a:cubicBezTo>
                    <a:pt x="2013905" y="550719"/>
                    <a:pt x="2115628" y="611003"/>
                    <a:pt x="2186846" y="697903"/>
                  </a:cubicBezTo>
                  <a:lnTo>
                    <a:pt x="4388791" y="697903"/>
                  </a:lnTo>
                  <a:cubicBezTo>
                    <a:pt x="4560115" y="697903"/>
                    <a:pt x="4699000" y="836788"/>
                    <a:pt x="4699000" y="1008112"/>
                  </a:cubicBezTo>
                  <a:cubicBezTo>
                    <a:pt x="4699000" y="1179436"/>
                    <a:pt x="4560115" y="1318321"/>
                    <a:pt x="4388791" y="1318321"/>
                  </a:cubicBezTo>
                  <a:lnTo>
                    <a:pt x="2186846" y="1318321"/>
                  </a:lnTo>
                  <a:cubicBezTo>
                    <a:pt x="2115628" y="1405221"/>
                    <a:pt x="2013905" y="1465506"/>
                    <a:pt x="1897748" y="1482000"/>
                  </a:cubicBezTo>
                  <a:cubicBezTo>
                    <a:pt x="1728404" y="1799955"/>
                    <a:pt x="1393514" y="2016224"/>
                    <a:pt x="1008112" y="2016224"/>
                  </a:cubicBezTo>
                  <a:cubicBezTo>
                    <a:pt x="451347" y="2016224"/>
                    <a:pt x="0" y="1564877"/>
                    <a:pt x="0" y="1008112"/>
                  </a:cubicBezTo>
                  <a:cubicBezTo>
                    <a:pt x="0" y="451347"/>
                    <a:pt x="451347" y="0"/>
                    <a:pt x="100811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9296;p186">
              <a:extLst>
                <a:ext uri="{FF2B5EF4-FFF2-40B4-BE49-F238E27FC236}">
                  <a16:creationId xmlns:a16="http://schemas.microsoft.com/office/drawing/2014/main" id="{E7498D19-A3AE-438C-A4B5-535F686E13B4}"/>
                </a:ext>
              </a:extLst>
            </p:cNvPr>
            <p:cNvSpPr/>
            <p:nvPr/>
          </p:nvSpPr>
          <p:spPr>
            <a:xfrm>
              <a:off x="4385541" y="1830864"/>
              <a:ext cx="1473714" cy="1473714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" name="Google Shape;9297;p186">
              <a:extLst>
                <a:ext uri="{FF2B5EF4-FFF2-40B4-BE49-F238E27FC236}">
                  <a16:creationId xmlns:a16="http://schemas.microsoft.com/office/drawing/2014/main" id="{EA47CB40-6EB0-4B6E-8E41-178C27315E7E}"/>
                </a:ext>
              </a:extLst>
            </p:cNvPr>
            <p:cNvSpPr/>
            <p:nvPr/>
          </p:nvSpPr>
          <p:spPr>
            <a:xfrm>
              <a:off x="5624068" y="2257512"/>
              <a:ext cx="620418" cy="62041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" name="Google Shape;9298;p186">
              <a:extLst>
                <a:ext uri="{FF2B5EF4-FFF2-40B4-BE49-F238E27FC236}">
                  <a16:creationId xmlns:a16="http://schemas.microsoft.com/office/drawing/2014/main" id="{C78DEC23-A0B9-4C51-BB72-507D97164355}"/>
                </a:ext>
              </a:extLst>
            </p:cNvPr>
            <p:cNvSpPr txBox="1"/>
            <p:nvPr/>
          </p:nvSpPr>
          <p:spPr>
            <a:xfrm>
              <a:off x="5715386" y="2233288"/>
              <a:ext cx="442705" cy="4036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4000" b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endParaRPr/>
            </a:p>
          </p:txBody>
        </p:sp>
        <p:sp>
          <p:nvSpPr>
            <p:cNvPr id="16" name="Google Shape;9299;p186">
              <a:extLst>
                <a:ext uri="{FF2B5EF4-FFF2-40B4-BE49-F238E27FC236}">
                  <a16:creationId xmlns:a16="http://schemas.microsoft.com/office/drawing/2014/main" id="{F797C6EB-A7F1-4478-BE82-8B9446DD6598}"/>
                </a:ext>
              </a:extLst>
            </p:cNvPr>
            <p:cNvSpPr txBox="1"/>
            <p:nvPr/>
          </p:nvSpPr>
          <p:spPr>
            <a:xfrm>
              <a:off x="4499517" y="2034440"/>
              <a:ext cx="1215868" cy="109970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/>
              <a:r>
                <a:rPr lang="en-GB" sz="1200" b="1" i="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Evaluate the trained SVM model on the testing set to assess its performance.</a:t>
              </a:r>
            </a:p>
          </p:txBody>
        </p:sp>
        <p:sp>
          <p:nvSpPr>
            <p:cNvPr id="17" name="Google Shape;9300;p186">
              <a:extLst>
                <a:ext uri="{FF2B5EF4-FFF2-40B4-BE49-F238E27FC236}">
                  <a16:creationId xmlns:a16="http://schemas.microsoft.com/office/drawing/2014/main" id="{2BDB7869-C092-48A2-B63B-F1C366CF0DE3}"/>
                </a:ext>
              </a:extLst>
            </p:cNvPr>
            <p:cNvSpPr txBox="1"/>
            <p:nvPr/>
          </p:nvSpPr>
          <p:spPr>
            <a:xfrm>
              <a:off x="6467192" y="2416924"/>
              <a:ext cx="2221541" cy="3964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600" b="1" dirty="0">
                  <a:solidFill>
                    <a:schemeClr val="dk1"/>
                  </a:solidFill>
                  <a:latin typeface="Arial"/>
                  <a:cs typeface="Arial"/>
                  <a:sym typeface="Arial"/>
                </a:rPr>
                <a:t>Evaluation</a:t>
              </a:r>
              <a:endParaRPr dirty="0"/>
            </a:p>
          </p:txBody>
        </p:sp>
        <p:sp>
          <p:nvSpPr>
            <p:cNvPr id="18" name="Google Shape;9301;p186">
              <a:extLst>
                <a:ext uri="{FF2B5EF4-FFF2-40B4-BE49-F238E27FC236}">
                  <a16:creationId xmlns:a16="http://schemas.microsoft.com/office/drawing/2014/main" id="{D34D6C61-84F7-4EF1-9B1F-F2C33A9CC128}"/>
                </a:ext>
              </a:extLst>
            </p:cNvPr>
            <p:cNvSpPr/>
            <p:nvPr/>
          </p:nvSpPr>
          <p:spPr>
            <a:xfrm>
              <a:off x="2655372" y="2862892"/>
              <a:ext cx="4809950" cy="2016224"/>
            </a:xfrm>
            <a:custGeom>
              <a:avLst/>
              <a:gdLst/>
              <a:ahLst/>
              <a:cxnLst/>
              <a:rect l="l" t="t" r="r" b="b"/>
              <a:pathLst>
                <a:path w="4809950" h="2016224" extrusionOk="0">
                  <a:moveTo>
                    <a:pt x="3801838" y="0"/>
                  </a:moveTo>
                  <a:cubicBezTo>
                    <a:pt x="4358603" y="0"/>
                    <a:pt x="4809950" y="451347"/>
                    <a:pt x="4809950" y="1008112"/>
                  </a:cubicBezTo>
                  <a:cubicBezTo>
                    <a:pt x="4809950" y="1564877"/>
                    <a:pt x="4358603" y="2016224"/>
                    <a:pt x="3801838" y="2016224"/>
                  </a:cubicBezTo>
                  <a:cubicBezTo>
                    <a:pt x="3414068" y="2016224"/>
                    <a:pt x="3077433" y="1797289"/>
                    <a:pt x="2909318" y="1476014"/>
                  </a:cubicBezTo>
                  <a:cubicBezTo>
                    <a:pt x="2873288" y="1486074"/>
                    <a:pt x="2835340" y="1490707"/>
                    <a:pt x="2796309" y="1490707"/>
                  </a:cubicBezTo>
                  <a:cubicBezTo>
                    <a:pt x="2648560" y="1490707"/>
                    <a:pt x="2516318" y="1424311"/>
                    <a:pt x="2429455" y="1318321"/>
                  </a:cubicBezTo>
                  <a:lnTo>
                    <a:pt x="310209" y="1318321"/>
                  </a:lnTo>
                  <a:cubicBezTo>
                    <a:pt x="138885" y="1318321"/>
                    <a:pt x="0" y="1179436"/>
                    <a:pt x="0" y="1008112"/>
                  </a:cubicBezTo>
                  <a:cubicBezTo>
                    <a:pt x="0" y="836788"/>
                    <a:pt x="138885" y="697903"/>
                    <a:pt x="310209" y="697903"/>
                  </a:cubicBezTo>
                  <a:lnTo>
                    <a:pt x="2429455" y="697903"/>
                  </a:lnTo>
                  <a:cubicBezTo>
                    <a:pt x="2516318" y="591913"/>
                    <a:pt x="2648560" y="525517"/>
                    <a:pt x="2796309" y="525517"/>
                  </a:cubicBezTo>
                  <a:cubicBezTo>
                    <a:pt x="2835340" y="525517"/>
                    <a:pt x="2873288" y="530150"/>
                    <a:pt x="2909318" y="540210"/>
                  </a:cubicBezTo>
                  <a:cubicBezTo>
                    <a:pt x="3077433" y="218935"/>
                    <a:pt x="3414068" y="0"/>
                    <a:pt x="3801838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" name="Google Shape;9302;p186">
              <a:extLst>
                <a:ext uri="{FF2B5EF4-FFF2-40B4-BE49-F238E27FC236}">
                  <a16:creationId xmlns:a16="http://schemas.microsoft.com/office/drawing/2014/main" id="{2F31A438-635E-4491-87B8-9467D00E3423}"/>
                </a:ext>
              </a:extLst>
            </p:cNvPr>
            <p:cNvSpPr/>
            <p:nvPr/>
          </p:nvSpPr>
          <p:spPr>
            <a:xfrm>
              <a:off x="5720354" y="3134147"/>
              <a:ext cx="1473714" cy="1473714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Google Shape;9303;p186">
              <a:extLst>
                <a:ext uri="{FF2B5EF4-FFF2-40B4-BE49-F238E27FC236}">
                  <a16:creationId xmlns:a16="http://schemas.microsoft.com/office/drawing/2014/main" id="{D8B75E2A-63AC-429F-85B9-729C016CE4D7}"/>
                </a:ext>
              </a:extLst>
            </p:cNvPr>
            <p:cNvSpPr/>
            <p:nvPr/>
          </p:nvSpPr>
          <p:spPr>
            <a:xfrm>
              <a:off x="5141473" y="3560795"/>
              <a:ext cx="620418" cy="620418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9304;p186">
              <a:extLst>
                <a:ext uri="{FF2B5EF4-FFF2-40B4-BE49-F238E27FC236}">
                  <a16:creationId xmlns:a16="http://schemas.microsoft.com/office/drawing/2014/main" id="{762D2937-09F5-4397-B104-09B8D8664A21}"/>
                </a:ext>
              </a:extLst>
            </p:cNvPr>
            <p:cNvSpPr txBox="1"/>
            <p:nvPr/>
          </p:nvSpPr>
          <p:spPr>
            <a:xfrm>
              <a:off x="5221247" y="3573016"/>
              <a:ext cx="442705" cy="4036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4000" b="1">
                  <a:solidFill>
                    <a:schemeClr val="accent5"/>
                  </a:solidFill>
                  <a:latin typeface="Arial"/>
                  <a:ea typeface="Arial"/>
                  <a:cs typeface="Arial"/>
                  <a:sym typeface="Arial"/>
                </a:rPr>
                <a:t>2</a:t>
              </a:r>
              <a:endParaRPr/>
            </a:p>
          </p:txBody>
        </p:sp>
        <p:sp>
          <p:nvSpPr>
            <p:cNvPr id="22" name="Google Shape;9305;p186">
              <a:extLst>
                <a:ext uri="{FF2B5EF4-FFF2-40B4-BE49-F238E27FC236}">
                  <a16:creationId xmlns:a16="http://schemas.microsoft.com/office/drawing/2014/main" id="{02A18FFE-2BA4-48C3-A340-C8352BDEBB1A}"/>
                </a:ext>
              </a:extLst>
            </p:cNvPr>
            <p:cNvSpPr txBox="1"/>
            <p:nvPr/>
          </p:nvSpPr>
          <p:spPr>
            <a:xfrm>
              <a:off x="5779741" y="3444937"/>
              <a:ext cx="1360976" cy="79280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/>
              <a:r>
                <a:rPr lang="en-GB" sz="1000" b="1" i="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Calculate metrics such as accuracy, precision, recall, and F1-score to measure the model's effectiveness in detecting spam messages.</a:t>
              </a:r>
            </a:p>
          </p:txBody>
        </p:sp>
        <p:sp>
          <p:nvSpPr>
            <p:cNvPr id="23" name="Google Shape;9306;p186">
              <a:extLst>
                <a:ext uri="{FF2B5EF4-FFF2-40B4-BE49-F238E27FC236}">
                  <a16:creationId xmlns:a16="http://schemas.microsoft.com/office/drawing/2014/main" id="{11C8EB07-E284-461C-9FF4-500E4D41F03F}"/>
                </a:ext>
              </a:extLst>
            </p:cNvPr>
            <p:cNvSpPr txBox="1"/>
            <p:nvPr/>
          </p:nvSpPr>
          <p:spPr>
            <a:xfrm>
              <a:off x="2846617" y="3720207"/>
              <a:ext cx="2221541" cy="3964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600" b="1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Metrics Calculation</a:t>
              </a:r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11144854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2FBEBC4-FEBB-4496-A633-2B5ADFC73D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599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E056EB4-5DE6-CB19-300D-1F608CB2D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b="1" dirty="0">
                <a:solidFill>
                  <a:schemeClr val="bg1"/>
                </a:solidFill>
              </a:rPr>
              <a:t>Prediction</a:t>
            </a:r>
          </a:p>
        </p:txBody>
      </p:sp>
      <p:grpSp>
        <p:nvGrpSpPr>
          <p:cNvPr id="7" name="Google Shape;9434;p189">
            <a:extLst>
              <a:ext uri="{FF2B5EF4-FFF2-40B4-BE49-F238E27FC236}">
                <a16:creationId xmlns:a16="http://schemas.microsoft.com/office/drawing/2014/main" id="{F7277CFE-A90A-4E2F-AAD9-83951C815AE9}"/>
              </a:ext>
            </a:extLst>
          </p:cNvPr>
          <p:cNvGrpSpPr/>
          <p:nvPr/>
        </p:nvGrpSpPr>
        <p:grpSpPr>
          <a:xfrm>
            <a:off x="934066" y="2206397"/>
            <a:ext cx="9979740" cy="2857908"/>
            <a:chOff x="834332" y="3995776"/>
            <a:chExt cx="7009431" cy="1660010"/>
          </a:xfrm>
        </p:grpSpPr>
        <p:sp>
          <p:nvSpPr>
            <p:cNvPr id="9" name="Google Shape;9436;p189">
              <a:extLst>
                <a:ext uri="{FF2B5EF4-FFF2-40B4-BE49-F238E27FC236}">
                  <a16:creationId xmlns:a16="http://schemas.microsoft.com/office/drawing/2014/main" id="{19C59B95-8C71-4F03-8CE3-BE3060F260BA}"/>
                </a:ext>
              </a:extLst>
            </p:cNvPr>
            <p:cNvSpPr/>
            <p:nvPr/>
          </p:nvSpPr>
          <p:spPr>
            <a:xfrm>
              <a:off x="834332" y="4005018"/>
              <a:ext cx="1651189" cy="1650768"/>
            </a:xfrm>
            <a:prstGeom prst="rect">
              <a:avLst/>
            </a:prstGeom>
            <a:solidFill>
              <a:schemeClr val="accent1"/>
            </a:solidFill>
            <a:ln w="14750" cap="flat" cmpd="sng">
              <a:noFill/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Google Shape;9437;p189">
              <a:extLst>
                <a:ext uri="{FF2B5EF4-FFF2-40B4-BE49-F238E27FC236}">
                  <a16:creationId xmlns:a16="http://schemas.microsoft.com/office/drawing/2014/main" id="{8904A929-6CFB-48AF-9550-471B83D49424}"/>
                </a:ext>
              </a:extLst>
            </p:cNvPr>
            <p:cNvSpPr/>
            <p:nvPr/>
          </p:nvSpPr>
          <p:spPr>
            <a:xfrm>
              <a:off x="2615332" y="4005018"/>
              <a:ext cx="1652666" cy="1650768"/>
            </a:xfrm>
            <a:prstGeom prst="rect">
              <a:avLst/>
            </a:prstGeom>
            <a:solidFill>
              <a:schemeClr val="accent2"/>
            </a:solidFill>
            <a:ln w="14750" cap="flat" cmpd="sng">
              <a:noFill/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9438;p189">
              <a:extLst>
                <a:ext uri="{FF2B5EF4-FFF2-40B4-BE49-F238E27FC236}">
                  <a16:creationId xmlns:a16="http://schemas.microsoft.com/office/drawing/2014/main" id="{E9F9DD0B-5DE6-4719-A256-D114BA0B1DC9}"/>
                </a:ext>
              </a:extLst>
            </p:cNvPr>
            <p:cNvSpPr/>
            <p:nvPr/>
          </p:nvSpPr>
          <p:spPr>
            <a:xfrm>
              <a:off x="4405509" y="3995776"/>
              <a:ext cx="1652667" cy="1650769"/>
            </a:xfrm>
            <a:prstGeom prst="rect">
              <a:avLst/>
            </a:prstGeom>
            <a:solidFill>
              <a:schemeClr val="accent3"/>
            </a:solidFill>
            <a:ln w="14750" cap="flat" cmpd="sng">
              <a:noFill/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9440;p189">
              <a:extLst>
                <a:ext uri="{FF2B5EF4-FFF2-40B4-BE49-F238E27FC236}">
                  <a16:creationId xmlns:a16="http://schemas.microsoft.com/office/drawing/2014/main" id="{4F8DC831-F729-4863-951B-ACAE27BA1AF2}"/>
                </a:ext>
              </a:extLst>
            </p:cNvPr>
            <p:cNvSpPr txBox="1"/>
            <p:nvPr/>
          </p:nvSpPr>
          <p:spPr>
            <a:xfrm>
              <a:off x="4548423" y="4933475"/>
              <a:ext cx="1366838" cy="6715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chemeClr val="lt1"/>
                </a:buClr>
                <a:buSzPts val="1000"/>
              </a:pPr>
              <a:r>
                <a:rPr lang="en-GB" sz="1100" b="1" i="0" dirty="0">
                  <a:solidFill>
                    <a:srgbClr val="F1F2F2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Transform the pre-processed text into TF-IDF vectors using the previously trained TF-IDF vectorizer.</a:t>
              </a:r>
            </a:p>
          </p:txBody>
        </p:sp>
        <p:sp>
          <p:nvSpPr>
            <p:cNvPr id="14" name="Google Shape;9441;p189">
              <a:extLst>
                <a:ext uri="{FF2B5EF4-FFF2-40B4-BE49-F238E27FC236}">
                  <a16:creationId xmlns:a16="http://schemas.microsoft.com/office/drawing/2014/main" id="{A7DCAE17-61F3-4689-BA65-4F163BA5BB36}"/>
                </a:ext>
              </a:extLst>
            </p:cNvPr>
            <p:cNvSpPr txBox="1"/>
            <p:nvPr/>
          </p:nvSpPr>
          <p:spPr>
            <a:xfrm>
              <a:off x="976507" y="4933475"/>
              <a:ext cx="1366838" cy="67151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chemeClr val="lt1"/>
                </a:buClr>
                <a:buSzPts val="1000"/>
              </a:pPr>
              <a:r>
                <a:rPr lang="en-GB" sz="1100" b="1" i="0" dirty="0">
                  <a:solidFill>
                    <a:srgbClr val="F1F2F2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Once the model is trained and evaluated, it can be used to predict the spam or ham class for new, unseen messages.</a:t>
              </a:r>
            </a:p>
          </p:txBody>
        </p:sp>
        <p:sp>
          <p:nvSpPr>
            <p:cNvPr id="15" name="Google Shape;9442;p189">
              <a:extLst>
                <a:ext uri="{FF2B5EF4-FFF2-40B4-BE49-F238E27FC236}">
                  <a16:creationId xmlns:a16="http://schemas.microsoft.com/office/drawing/2014/main" id="{9C833758-FDA5-4859-8AAD-30A1C45D79B6}"/>
                </a:ext>
              </a:extLst>
            </p:cNvPr>
            <p:cNvSpPr txBox="1"/>
            <p:nvPr/>
          </p:nvSpPr>
          <p:spPr>
            <a:xfrm>
              <a:off x="856651" y="4698525"/>
              <a:ext cx="1606550" cy="14299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00" b="1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endParaRPr dirty="0"/>
            </a:p>
          </p:txBody>
        </p:sp>
        <p:sp>
          <p:nvSpPr>
            <p:cNvPr id="16" name="Google Shape;9443;p189">
              <a:extLst>
                <a:ext uri="{FF2B5EF4-FFF2-40B4-BE49-F238E27FC236}">
                  <a16:creationId xmlns:a16="http://schemas.microsoft.com/office/drawing/2014/main" id="{F64A96BA-4AE4-470F-BD8B-D0A78D61904F}"/>
                </a:ext>
              </a:extLst>
            </p:cNvPr>
            <p:cNvSpPr/>
            <p:nvPr/>
          </p:nvSpPr>
          <p:spPr>
            <a:xfrm>
              <a:off x="6191098" y="4005018"/>
              <a:ext cx="1652665" cy="1650768"/>
            </a:xfrm>
            <a:prstGeom prst="rect">
              <a:avLst/>
            </a:prstGeom>
            <a:solidFill>
              <a:schemeClr val="accent4"/>
            </a:solidFill>
            <a:ln w="14750" cap="flat" cmpd="sng">
              <a:noFill/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7" name="Google Shape;9444;p189">
              <a:extLst>
                <a:ext uri="{FF2B5EF4-FFF2-40B4-BE49-F238E27FC236}">
                  <a16:creationId xmlns:a16="http://schemas.microsoft.com/office/drawing/2014/main" id="{6B23C6E0-E98C-45F3-B7B9-44967B83B424}"/>
                </a:ext>
              </a:extLst>
            </p:cNvPr>
            <p:cNvGrpSpPr/>
            <p:nvPr/>
          </p:nvGrpSpPr>
          <p:grpSpPr>
            <a:xfrm>
              <a:off x="6953122" y="5009034"/>
              <a:ext cx="128615" cy="249283"/>
              <a:chOff x="6210677" y="4418131"/>
              <a:chExt cx="128609" cy="249334"/>
            </a:xfrm>
          </p:grpSpPr>
          <p:sp>
            <p:nvSpPr>
              <p:cNvPr id="38" name="Google Shape;9445;p189">
                <a:extLst>
                  <a:ext uri="{FF2B5EF4-FFF2-40B4-BE49-F238E27FC236}">
                    <a16:creationId xmlns:a16="http://schemas.microsoft.com/office/drawing/2014/main" id="{B63E852A-4050-41D6-9939-0D9014A09C52}"/>
                  </a:ext>
                </a:extLst>
              </p:cNvPr>
              <p:cNvSpPr/>
              <p:nvPr/>
            </p:nvSpPr>
            <p:spPr>
              <a:xfrm rot="2700243">
                <a:off x="6269759" y="4396692"/>
                <a:ext cx="10338" cy="171324"/>
              </a:xfrm>
              <a:custGeom>
                <a:avLst/>
                <a:gdLst/>
                <a:ahLst/>
                <a:cxnLst/>
                <a:rect l="l" t="t" r="r" b="b"/>
                <a:pathLst>
                  <a:path w="10338" h="171324" extrusionOk="0">
                    <a:moveTo>
                      <a:pt x="0" y="0"/>
                    </a:moveTo>
                    <a:lnTo>
                      <a:pt x="10339" y="0"/>
                    </a:lnTo>
                    <a:lnTo>
                      <a:pt x="10339" y="171324"/>
                    </a:lnTo>
                    <a:lnTo>
                      <a:pt x="0" y="171324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9446;p189">
                <a:extLst>
                  <a:ext uri="{FF2B5EF4-FFF2-40B4-BE49-F238E27FC236}">
                    <a16:creationId xmlns:a16="http://schemas.microsoft.com/office/drawing/2014/main" id="{CE713E6E-0ED7-4B72-9B98-8987F499DF01}"/>
                  </a:ext>
                </a:extLst>
              </p:cNvPr>
              <p:cNvSpPr/>
              <p:nvPr/>
            </p:nvSpPr>
            <p:spPr>
              <a:xfrm rot="2700000">
                <a:off x="6269731" y="4456969"/>
                <a:ext cx="10337" cy="171311"/>
              </a:xfrm>
              <a:custGeom>
                <a:avLst/>
                <a:gdLst/>
                <a:ahLst/>
                <a:cxnLst/>
                <a:rect l="l" t="t" r="r" b="b"/>
                <a:pathLst>
                  <a:path w="10337" h="171311" extrusionOk="0">
                    <a:moveTo>
                      <a:pt x="0" y="0"/>
                    </a:moveTo>
                    <a:lnTo>
                      <a:pt x="10338" y="0"/>
                    </a:lnTo>
                    <a:lnTo>
                      <a:pt x="10338" y="171312"/>
                    </a:lnTo>
                    <a:lnTo>
                      <a:pt x="0" y="171312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9447;p189">
                <a:extLst>
                  <a:ext uri="{FF2B5EF4-FFF2-40B4-BE49-F238E27FC236}">
                    <a16:creationId xmlns:a16="http://schemas.microsoft.com/office/drawing/2014/main" id="{C1D449DA-A4E8-4372-A39B-B6F1F08319A0}"/>
                  </a:ext>
                </a:extLst>
              </p:cNvPr>
              <p:cNvSpPr/>
              <p:nvPr/>
            </p:nvSpPr>
            <p:spPr>
              <a:xfrm rot="2700000">
                <a:off x="6269896" y="4517587"/>
                <a:ext cx="10337" cy="171311"/>
              </a:xfrm>
              <a:custGeom>
                <a:avLst/>
                <a:gdLst/>
                <a:ahLst/>
                <a:cxnLst/>
                <a:rect l="l" t="t" r="r" b="b"/>
                <a:pathLst>
                  <a:path w="10337" h="171311" extrusionOk="0">
                    <a:moveTo>
                      <a:pt x="0" y="0"/>
                    </a:moveTo>
                    <a:lnTo>
                      <a:pt x="10338" y="0"/>
                    </a:lnTo>
                    <a:lnTo>
                      <a:pt x="10338" y="171312"/>
                    </a:lnTo>
                    <a:lnTo>
                      <a:pt x="0" y="171312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9" name="Google Shape;9449;p189">
              <a:extLst>
                <a:ext uri="{FF2B5EF4-FFF2-40B4-BE49-F238E27FC236}">
                  <a16:creationId xmlns:a16="http://schemas.microsoft.com/office/drawing/2014/main" id="{C20EAD42-294C-4F31-84F0-1953519409A7}"/>
                </a:ext>
              </a:extLst>
            </p:cNvPr>
            <p:cNvSpPr txBox="1"/>
            <p:nvPr/>
          </p:nvSpPr>
          <p:spPr>
            <a:xfrm>
              <a:off x="2759040" y="4933475"/>
              <a:ext cx="1365250" cy="67151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chemeClr val="dk1"/>
                </a:buClr>
                <a:buSzPts val="1000"/>
              </a:pPr>
              <a:r>
                <a:rPr lang="en-GB" sz="1100" b="1" i="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Pre-process the new messages using the same steps as mentioned above (cleaning, tokenization, stop word removal, etc.).</a:t>
              </a:r>
            </a:p>
          </p:txBody>
        </p:sp>
        <p:sp>
          <p:nvSpPr>
            <p:cNvPr id="20" name="Google Shape;9450;p189">
              <a:extLst>
                <a:ext uri="{FF2B5EF4-FFF2-40B4-BE49-F238E27FC236}">
                  <a16:creationId xmlns:a16="http://schemas.microsoft.com/office/drawing/2014/main" id="{2B946F01-60C7-44F6-83AD-A5E3A5C792A1}"/>
                </a:ext>
              </a:extLst>
            </p:cNvPr>
            <p:cNvSpPr txBox="1"/>
            <p:nvPr/>
          </p:nvSpPr>
          <p:spPr>
            <a:xfrm>
              <a:off x="2638390" y="4698525"/>
              <a:ext cx="1606550" cy="14299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00" b="1" dirty="0">
                  <a:solidFill>
                    <a:schemeClr val="bg1"/>
                  </a:solidFill>
                  <a:latin typeface="Arial"/>
                  <a:ea typeface="Arial"/>
                  <a:cs typeface="Arial"/>
                  <a:sym typeface="Arial"/>
                </a:rPr>
                <a:t>2</a:t>
              </a:r>
              <a:endParaRPr dirty="0">
                <a:solidFill>
                  <a:schemeClr val="bg1"/>
                </a:solidFill>
              </a:endParaRPr>
            </a:p>
          </p:txBody>
        </p:sp>
        <p:sp>
          <p:nvSpPr>
            <p:cNvPr id="21" name="Google Shape;9451;p189">
              <a:extLst>
                <a:ext uri="{FF2B5EF4-FFF2-40B4-BE49-F238E27FC236}">
                  <a16:creationId xmlns:a16="http://schemas.microsoft.com/office/drawing/2014/main" id="{A9B67648-4CD4-496A-8864-6B486BCB9C01}"/>
                </a:ext>
              </a:extLst>
            </p:cNvPr>
            <p:cNvSpPr txBox="1"/>
            <p:nvPr/>
          </p:nvSpPr>
          <p:spPr>
            <a:xfrm>
              <a:off x="4428567" y="4698525"/>
              <a:ext cx="1606550" cy="14299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00" b="1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3</a:t>
              </a:r>
              <a:endParaRPr dirty="0"/>
            </a:p>
          </p:txBody>
        </p:sp>
        <p:sp>
          <p:nvSpPr>
            <p:cNvPr id="22" name="Google Shape;9452;p189">
              <a:extLst>
                <a:ext uri="{FF2B5EF4-FFF2-40B4-BE49-F238E27FC236}">
                  <a16:creationId xmlns:a16="http://schemas.microsoft.com/office/drawing/2014/main" id="{C99CC282-8560-4CD7-BE06-03F2365300A1}"/>
                </a:ext>
              </a:extLst>
            </p:cNvPr>
            <p:cNvSpPr txBox="1"/>
            <p:nvPr/>
          </p:nvSpPr>
          <p:spPr>
            <a:xfrm>
              <a:off x="6346890" y="4933475"/>
              <a:ext cx="1341080" cy="6699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ctr"/>
              <a:r>
                <a:rPr lang="en-GB" sz="1100" b="1" i="0" dirty="0">
                  <a:solidFill>
                    <a:schemeClr val="bg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Feed the TF-IDF vectors into the trained SVM model to obtain predictions on whether the messages are spam or ham.</a:t>
              </a:r>
            </a:p>
          </p:txBody>
        </p:sp>
        <p:sp>
          <p:nvSpPr>
            <p:cNvPr id="23" name="Google Shape;9453;p189">
              <a:extLst>
                <a:ext uri="{FF2B5EF4-FFF2-40B4-BE49-F238E27FC236}">
                  <a16:creationId xmlns:a16="http://schemas.microsoft.com/office/drawing/2014/main" id="{F1C2004F-F5EB-4F32-BF26-BB25C53CC00C}"/>
                </a:ext>
              </a:extLst>
            </p:cNvPr>
            <p:cNvSpPr txBox="1"/>
            <p:nvPr/>
          </p:nvSpPr>
          <p:spPr>
            <a:xfrm>
              <a:off x="6213361" y="4698525"/>
              <a:ext cx="1608138" cy="14299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00" b="1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4</a:t>
              </a:r>
              <a:endParaRPr dirty="0"/>
            </a:p>
          </p:txBody>
        </p:sp>
        <p:sp>
          <p:nvSpPr>
            <p:cNvPr id="27" name="Google Shape;9457;p189">
              <a:extLst>
                <a:ext uri="{FF2B5EF4-FFF2-40B4-BE49-F238E27FC236}">
                  <a16:creationId xmlns:a16="http://schemas.microsoft.com/office/drawing/2014/main" id="{60E5EB78-C17A-4BAF-96DA-D7CD76B9537D}"/>
                </a:ext>
              </a:extLst>
            </p:cNvPr>
            <p:cNvSpPr/>
            <p:nvPr/>
          </p:nvSpPr>
          <p:spPr>
            <a:xfrm>
              <a:off x="6852838" y="4251866"/>
              <a:ext cx="329184" cy="328355"/>
            </a:xfrm>
            <a:custGeom>
              <a:avLst/>
              <a:gdLst/>
              <a:ahLst/>
              <a:cxnLst/>
              <a:rect l="l" t="t" r="r" b="b"/>
              <a:pathLst>
                <a:path w="347" h="346" extrusionOk="0">
                  <a:moveTo>
                    <a:pt x="0" y="0"/>
                  </a:moveTo>
                  <a:cubicBezTo>
                    <a:pt x="0" y="346"/>
                    <a:pt x="0" y="346"/>
                    <a:pt x="0" y="346"/>
                  </a:cubicBezTo>
                  <a:cubicBezTo>
                    <a:pt x="347" y="346"/>
                    <a:pt x="347" y="346"/>
                    <a:pt x="347" y="346"/>
                  </a:cubicBezTo>
                  <a:cubicBezTo>
                    <a:pt x="347" y="0"/>
                    <a:pt x="347" y="0"/>
                    <a:pt x="347" y="0"/>
                  </a:cubicBezTo>
                  <a:lnTo>
                    <a:pt x="0" y="0"/>
                  </a:lnTo>
                  <a:close/>
                  <a:moveTo>
                    <a:pt x="332" y="14"/>
                  </a:moveTo>
                  <a:cubicBezTo>
                    <a:pt x="332" y="163"/>
                    <a:pt x="332" y="163"/>
                    <a:pt x="332" y="163"/>
                  </a:cubicBezTo>
                  <a:cubicBezTo>
                    <a:pt x="325" y="154"/>
                    <a:pt x="310" y="137"/>
                    <a:pt x="289" y="120"/>
                  </a:cubicBezTo>
                  <a:cubicBezTo>
                    <a:pt x="251" y="88"/>
                    <a:pt x="211" y="71"/>
                    <a:pt x="174" y="71"/>
                  </a:cubicBezTo>
                  <a:cubicBezTo>
                    <a:pt x="136" y="71"/>
                    <a:pt x="96" y="88"/>
                    <a:pt x="58" y="120"/>
                  </a:cubicBezTo>
                  <a:cubicBezTo>
                    <a:pt x="37" y="137"/>
                    <a:pt x="22" y="154"/>
                    <a:pt x="15" y="163"/>
                  </a:cubicBezTo>
                  <a:cubicBezTo>
                    <a:pt x="15" y="14"/>
                    <a:pt x="15" y="14"/>
                    <a:pt x="15" y="14"/>
                  </a:cubicBezTo>
                  <a:lnTo>
                    <a:pt x="332" y="14"/>
                  </a:lnTo>
                  <a:close/>
                  <a:moveTo>
                    <a:pt x="321" y="173"/>
                  </a:moveTo>
                  <a:cubicBezTo>
                    <a:pt x="306" y="191"/>
                    <a:pt x="245" y="260"/>
                    <a:pt x="174" y="260"/>
                  </a:cubicBezTo>
                  <a:cubicBezTo>
                    <a:pt x="102" y="260"/>
                    <a:pt x="41" y="191"/>
                    <a:pt x="26" y="173"/>
                  </a:cubicBezTo>
                  <a:cubicBezTo>
                    <a:pt x="41" y="155"/>
                    <a:pt x="102" y="86"/>
                    <a:pt x="174" y="86"/>
                  </a:cubicBezTo>
                  <a:cubicBezTo>
                    <a:pt x="245" y="86"/>
                    <a:pt x="306" y="155"/>
                    <a:pt x="321" y="173"/>
                  </a:cubicBezTo>
                  <a:close/>
                  <a:moveTo>
                    <a:pt x="15" y="331"/>
                  </a:moveTo>
                  <a:cubicBezTo>
                    <a:pt x="15" y="183"/>
                    <a:pt x="15" y="183"/>
                    <a:pt x="15" y="183"/>
                  </a:cubicBezTo>
                  <a:cubicBezTo>
                    <a:pt x="22" y="191"/>
                    <a:pt x="37" y="208"/>
                    <a:pt x="58" y="226"/>
                  </a:cubicBezTo>
                  <a:cubicBezTo>
                    <a:pt x="96" y="258"/>
                    <a:pt x="136" y="275"/>
                    <a:pt x="174" y="275"/>
                  </a:cubicBezTo>
                  <a:cubicBezTo>
                    <a:pt x="211" y="275"/>
                    <a:pt x="251" y="258"/>
                    <a:pt x="289" y="226"/>
                  </a:cubicBezTo>
                  <a:cubicBezTo>
                    <a:pt x="310" y="208"/>
                    <a:pt x="325" y="191"/>
                    <a:pt x="332" y="183"/>
                  </a:cubicBezTo>
                  <a:cubicBezTo>
                    <a:pt x="332" y="331"/>
                    <a:pt x="332" y="331"/>
                    <a:pt x="332" y="331"/>
                  </a:cubicBezTo>
                  <a:lnTo>
                    <a:pt x="15" y="331"/>
                  </a:lnTo>
                  <a:close/>
                  <a:moveTo>
                    <a:pt x="174" y="96"/>
                  </a:moveTo>
                  <a:cubicBezTo>
                    <a:pt x="131" y="96"/>
                    <a:pt x="96" y="130"/>
                    <a:pt x="96" y="173"/>
                  </a:cubicBezTo>
                  <a:cubicBezTo>
                    <a:pt x="96" y="215"/>
                    <a:pt x="131" y="250"/>
                    <a:pt x="174" y="250"/>
                  </a:cubicBezTo>
                  <a:cubicBezTo>
                    <a:pt x="216" y="250"/>
                    <a:pt x="251" y="215"/>
                    <a:pt x="251" y="173"/>
                  </a:cubicBezTo>
                  <a:cubicBezTo>
                    <a:pt x="251" y="130"/>
                    <a:pt x="216" y="96"/>
                    <a:pt x="174" y="96"/>
                  </a:cubicBezTo>
                  <a:close/>
                  <a:moveTo>
                    <a:pt x="235" y="165"/>
                  </a:moveTo>
                  <a:cubicBezTo>
                    <a:pt x="181" y="165"/>
                    <a:pt x="181" y="165"/>
                    <a:pt x="181" y="165"/>
                  </a:cubicBezTo>
                  <a:cubicBezTo>
                    <a:pt x="181" y="111"/>
                    <a:pt x="181" y="111"/>
                    <a:pt x="181" y="111"/>
                  </a:cubicBezTo>
                  <a:cubicBezTo>
                    <a:pt x="209" y="114"/>
                    <a:pt x="232" y="137"/>
                    <a:pt x="235" y="165"/>
                  </a:cubicBezTo>
                  <a:close/>
                  <a:moveTo>
                    <a:pt x="166" y="111"/>
                  </a:moveTo>
                  <a:cubicBezTo>
                    <a:pt x="166" y="165"/>
                    <a:pt x="166" y="165"/>
                    <a:pt x="166" y="165"/>
                  </a:cubicBezTo>
                  <a:cubicBezTo>
                    <a:pt x="112" y="165"/>
                    <a:pt x="112" y="165"/>
                    <a:pt x="112" y="165"/>
                  </a:cubicBezTo>
                  <a:cubicBezTo>
                    <a:pt x="115" y="137"/>
                    <a:pt x="138" y="114"/>
                    <a:pt x="166" y="111"/>
                  </a:cubicBezTo>
                  <a:close/>
                  <a:moveTo>
                    <a:pt x="112" y="180"/>
                  </a:moveTo>
                  <a:cubicBezTo>
                    <a:pt x="166" y="180"/>
                    <a:pt x="166" y="180"/>
                    <a:pt x="166" y="180"/>
                  </a:cubicBezTo>
                  <a:cubicBezTo>
                    <a:pt x="166" y="235"/>
                    <a:pt x="166" y="235"/>
                    <a:pt x="166" y="235"/>
                  </a:cubicBezTo>
                  <a:cubicBezTo>
                    <a:pt x="138" y="231"/>
                    <a:pt x="115" y="209"/>
                    <a:pt x="112" y="180"/>
                  </a:cubicBezTo>
                  <a:close/>
                  <a:moveTo>
                    <a:pt x="181" y="235"/>
                  </a:moveTo>
                  <a:cubicBezTo>
                    <a:pt x="181" y="180"/>
                    <a:pt x="181" y="180"/>
                    <a:pt x="181" y="180"/>
                  </a:cubicBezTo>
                  <a:cubicBezTo>
                    <a:pt x="235" y="180"/>
                    <a:pt x="235" y="180"/>
                    <a:pt x="235" y="180"/>
                  </a:cubicBezTo>
                  <a:cubicBezTo>
                    <a:pt x="232" y="209"/>
                    <a:pt x="209" y="231"/>
                    <a:pt x="181" y="235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700"/>
                <a:buFont typeface="Arial"/>
                <a:buNone/>
              </a:pPr>
              <a:endParaRPr sz="700" b="1" i="0" u="none" strike="noStrike" cap="none">
                <a:solidFill>
                  <a:srgbClr val="D04A0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" name="Google Shape;9460;p189">
              <a:extLst>
                <a:ext uri="{FF2B5EF4-FFF2-40B4-BE49-F238E27FC236}">
                  <a16:creationId xmlns:a16="http://schemas.microsoft.com/office/drawing/2014/main" id="{E5D17006-2478-43F7-A444-75CCFA0D9A60}"/>
                </a:ext>
              </a:extLst>
            </p:cNvPr>
            <p:cNvSpPr/>
            <p:nvPr/>
          </p:nvSpPr>
          <p:spPr>
            <a:xfrm>
              <a:off x="1495801" y="4251866"/>
              <a:ext cx="328251" cy="329184"/>
            </a:xfrm>
            <a:custGeom>
              <a:avLst/>
              <a:gdLst/>
              <a:ahLst/>
              <a:cxnLst/>
              <a:rect l="l" t="t" r="r" b="b"/>
              <a:pathLst>
                <a:path w="576" h="576" extrusionOk="0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24" y="551"/>
                    <a:pt x="24" y="551"/>
                    <a:pt x="24" y="551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551" y="24"/>
                    <a:pt x="551" y="24"/>
                    <a:pt x="551" y="24"/>
                  </a:cubicBezTo>
                  <a:lnTo>
                    <a:pt x="551" y="551"/>
                  </a:lnTo>
                  <a:close/>
                  <a:moveTo>
                    <a:pt x="205" y="449"/>
                  </a:moveTo>
                  <a:cubicBezTo>
                    <a:pt x="197" y="475"/>
                    <a:pt x="197" y="475"/>
                    <a:pt x="197" y="475"/>
                  </a:cubicBezTo>
                  <a:cubicBezTo>
                    <a:pt x="128" y="442"/>
                    <a:pt x="80" y="370"/>
                    <a:pt x="80" y="288"/>
                  </a:cubicBezTo>
                  <a:cubicBezTo>
                    <a:pt x="80" y="176"/>
                    <a:pt x="168" y="85"/>
                    <a:pt x="278" y="79"/>
                  </a:cubicBezTo>
                  <a:cubicBezTo>
                    <a:pt x="263" y="64"/>
                    <a:pt x="263" y="64"/>
                    <a:pt x="263" y="64"/>
                  </a:cubicBezTo>
                  <a:cubicBezTo>
                    <a:pt x="282" y="45"/>
                    <a:pt x="282" y="45"/>
                    <a:pt x="282" y="45"/>
                  </a:cubicBezTo>
                  <a:cubicBezTo>
                    <a:pt x="331" y="94"/>
                    <a:pt x="331" y="94"/>
                    <a:pt x="331" y="94"/>
                  </a:cubicBezTo>
                  <a:cubicBezTo>
                    <a:pt x="282" y="143"/>
                    <a:pt x="282" y="143"/>
                    <a:pt x="282" y="143"/>
                  </a:cubicBezTo>
                  <a:cubicBezTo>
                    <a:pt x="263" y="124"/>
                    <a:pt x="263" y="124"/>
                    <a:pt x="263" y="124"/>
                  </a:cubicBezTo>
                  <a:cubicBezTo>
                    <a:pt x="281" y="106"/>
                    <a:pt x="281" y="106"/>
                    <a:pt x="281" y="106"/>
                  </a:cubicBezTo>
                  <a:cubicBezTo>
                    <a:pt x="184" y="110"/>
                    <a:pt x="107" y="190"/>
                    <a:pt x="107" y="288"/>
                  </a:cubicBezTo>
                  <a:cubicBezTo>
                    <a:pt x="107" y="358"/>
                    <a:pt x="147" y="419"/>
                    <a:pt x="205" y="449"/>
                  </a:cubicBezTo>
                  <a:close/>
                  <a:moveTo>
                    <a:pt x="295" y="496"/>
                  </a:moveTo>
                  <a:cubicBezTo>
                    <a:pt x="310" y="511"/>
                    <a:pt x="310" y="511"/>
                    <a:pt x="310" y="511"/>
                  </a:cubicBezTo>
                  <a:cubicBezTo>
                    <a:pt x="291" y="530"/>
                    <a:pt x="291" y="530"/>
                    <a:pt x="291" y="530"/>
                  </a:cubicBezTo>
                  <a:cubicBezTo>
                    <a:pt x="242" y="481"/>
                    <a:pt x="242" y="481"/>
                    <a:pt x="242" y="481"/>
                  </a:cubicBezTo>
                  <a:cubicBezTo>
                    <a:pt x="291" y="432"/>
                    <a:pt x="291" y="432"/>
                    <a:pt x="291" y="432"/>
                  </a:cubicBezTo>
                  <a:cubicBezTo>
                    <a:pt x="310" y="451"/>
                    <a:pt x="310" y="451"/>
                    <a:pt x="310" y="451"/>
                  </a:cubicBezTo>
                  <a:cubicBezTo>
                    <a:pt x="292" y="469"/>
                    <a:pt x="292" y="469"/>
                    <a:pt x="292" y="469"/>
                  </a:cubicBezTo>
                  <a:cubicBezTo>
                    <a:pt x="391" y="468"/>
                    <a:pt x="470" y="387"/>
                    <a:pt x="470" y="288"/>
                  </a:cubicBezTo>
                  <a:cubicBezTo>
                    <a:pt x="470" y="214"/>
                    <a:pt x="426" y="151"/>
                    <a:pt x="363" y="122"/>
                  </a:cubicBezTo>
                  <a:cubicBezTo>
                    <a:pt x="371" y="96"/>
                    <a:pt x="371" y="96"/>
                    <a:pt x="371" y="96"/>
                  </a:cubicBezTo>
                  <a:cubicBezTo>
                    <a:pt x="445" y="128"/>
                    <a:pt x="497" y="202"/>
                    <a:pt x="497" y="288"/>
                  </a:cubicBezTo>
                  <a:cubicBezTo>
                    <a:pt x="497" y="401"/>
                    <a:pt x="407" y="493"/>
                    <a:pt x="295" y="496"/>
                  </a:cubicBezTo>
                  <a:close/>
                  <a:moveTo>
                    <a:pt x="289" y="157"/>
                  </a:moveTo>
                  <a:cubicBezTo>
                    <a:pt x="217" y="157"/>
                    <a:pt x="158" y="216"/>
                    <a:pt x="158" y="288"/>
                  </a:cubicBezTo>
                  <a:cubicBezTo>
                    <a:pt x="158" y="360"/>
                    <a:pt x="217" y="418"/>
                    <a:pt x="289" y="418"/>
                  </a:cubicBezTo>
                  <a:cubicBezTo>
                    <a:pt x="360" y="418"/>
                    <a:pt x="419" y="360"/>
                    <a:pt x="419" y="288"/>
                  </a:cubicBezTo>
                  <a:cubicBezTo>
                    <a:pt x="419" y="216"/>
                    <a:pt x="360" y="157"/>
                    <a:pt x="289" y="157"/>
                  </a:cubicBezTo>
                  <a:close/>
                  <a:moveTo>
                    <a:pt x="183" y="300"/>
                  </a:moveTo>
                  <a:cubicBezTo>
                    <a:pt x="211" y="300"/>
                    <a:pt x="211" y="300"/>
                    <a:pt x="211" y="300"/>
                  </a:cubicBezTo>
                  <a:cubicBezTo>
                    <a:pt x="212" y="311"/>
                    <a:pt x="214" y="320"/>
                    <a:pt x="216" y="330"/>
                  </a:cubicBezTo>
                  <a:cubicBezTo>
                    <a:pt x="191" y="330"/>
                    <a:pt x="191" y="330"/>
                    <a:pt x="191" y="330"/>
                  </a:cubicBezTo>
                  <a:cubicBezTo>
                    <a:pt x="187" y="320"/>
                    <a:pt x="185" y="310"/>
                    <a:pt x="183" y="300"/>
                  </a:cubicBezTo>
                  <a:close/>
                  <a:moveTo>
                    <a:pt x="301" y="221"/>
                  </a:moveTo>
                  <a:cubicBezTo>
                    <a:pt x="301" y="193"/>
                    <a:pt x="301" y="193"/>
                    <a:pt x="301" y="193"/>
                  </a:cubicBezTo>
                  <a:cubicBezTo>
                    <a:pt x="308" y="200"/>
                    <a:pt x="317" y="209"/>
                    <a:pt x="326" y="221"/>
                  </a:cubicBezTo>
                  <a:lnTo>
                    <a:pt x="301" y="221"/>
                  </a:lnTo>
                  <a:close/>
                  <a:moveTo>
                    <a:pt x="338" y="246"/>
                  </a:moveTo>
                  <a:cubicBezTo>
                    <a:pt x="342" y="255"/>
                    <a:pt x="344" y="265"/>
                    <a:pt x="345" y="275"/>
                  </a:cubicBezTo>
                  <a:cubicBezTo>
                    <a:pt x="301" y="275"/>
                    <a:pt x="301" y="275"/>
                    <a:pt x="301" y="275"/>
                  </a:cubicBezTo>
                  <a:cubicBezTo>
                    <a:pt x="301" y="246"/>
                    <a:pt x="301" y="246"/>
                    <a:pt x="301" y="246"/>
                  </a:cubicBezTo>
                  <a:lnTo>
                    <a:pt x="338" y="246"/>
                  </a:lnTo>
                  <a:close/>
                  <a:moveTo>
                    <a:pt x="276" y="194"/>
                  </a:moveTo>
                  <a:cubicBezTo>
                    <a:pt x="276" y="221"/>
                    <a:pt x="276" y="221"/>
                    <a:pt x="276" y="221"/>
                  </a:cubicBezTo>
                  <a:cubicBezTo>
                    <a:pt x="254" y="221"/>
                    <a:pt x="254" y="221"/>
                    <a:pt x="254" y="221"/>
                  </a:cubicBezTo>
                  <a:cubicBezTo>
                    <a:pt x="261" y="209"/>
                    <a:pt x="269" y="200"/>
                    <a:pt x="276" y="194"/>
                  </a:cubicBezTo>
                  <a:close/>
                  <a:moveTo>
                    <a:pt x="276" y="246"/>
                  </a:moveTo>
                  <a:cubicBezTo>
                    <a:pt x="276" y="275"/>
                    <a:pt x="276" y="275"/>
                    <a:pt x="276" y="275"/>
                  </a:cubicBezTo>
                  <a:cubicBezTo>
                    <a:pt x="236" y="275"/>
                    <a:pt x="236" y="275"/>
                    <a:pt x="236" y="275"/>
                  </a:cubicBezTo>
                  <a:cubicBezTo>
                    <a:pt x="237" y="265"/>
                    <a:pt x="239" y="255"/>
                    <a:pt x="242" y="246"/>
                  </a:cubicBezTo>
                  <a:lnTo>
                    <a:pt x="276" y="246"/>
                  </a:lnTo>
                  <a:close/>
                  <a:moveTo>
                    <a:pt x="211" y="275"/>
                  </a:moveTo>
                  <a:cubicBezTo>
                    <a:pt x="183" y="275"/>
                    <a:pt x="183" y="275"/>
                    <a:pt x="183" y="275"/>
                  </a:cubicBezTo>
                  <a:cubicBezTo>
                    <a:pt x="185" y="265"/>
                    <a:pt x="187" y="255"/>
                    <a:pt x="191" y="246"/>
                  </a:cubicBezTo>
                  <a:cubicBezTo>
                    <a:pt x="216" y="246"/>
                    <a:pt x="216" y="246"/>
                    <a:pt x="216" y="246"/>
                  </a:cubicBezTo>
                  <a:cubicBezTo>
                    <a:pt x="214" y="255"/>
                    <a:pt x="212" y="265"/>
                    <a:pt x="211" y="275"/>
                  </a:cubicBezTo>
                  <a:close/>
                  <a:moveTo>
                    <a:pt x="236" y="300"/>
                  </a:moveTo>
                  <a:cubicBezTo>
                    <a:pt x="276" y="300"/>
                    <a:pt x="276" y="300"/>
                    <a:pt x="276" y="300"/>
                  </a:cubicBezTo>
                  <a:cubicBezTo>
                    <a:pt x="276" y="330"/>
                    <a:pt x="276" y="330"/>
                    <a:pt x="276" y="330"/>
                  </a:cubicBezTo>
                  <a:cubicBezTo>
                    <a:pt x="242" y="330"/>
                    <a:pt x="242" y="330"/>
                    <a:pt x="242" y="330"/>
                  </a:cubicBezTo>
                  <a:cubicBezTo>
                    <a:pt x="239" y="321"/>
                    <a:pt x="237" y="311"/>
                    <a:pt x="236" y="300"/>
                  </a:cubicBezTo>
                  <a:close/>
                  <a:moveTo>
                    <a:pt x="276" y="354"/>
                  </a:moveTo>
                  <a:cubicBezTo>
                    <a:pt x="276" y="382"/>
                    <a:pt x="276" y="382"/>
                    <a:pt x="276" y="382"/>
                  </a:cubicBezTo>
                  <a:cubicBezTo>
                    <a:pt x="269" y="375"/>
                    <a:pt x="261" y="366"/>
                    <a:pt x="254" y="354"/>
                  </a:cubicBezTo>
                  <a:lnTo>
                    <a:pt x="276" y="354"/>
                  </a:lnTo>
                  <a:close/>
                  <a:moveTo>
                    <a:pt x="301" y="383"/>
                  </a:moveTo>
                  <a:cubicBezTo>
                    <a:pt x="301" y="354"/>
                    <a:pt x="301" y="354"/>
                    <a:pt x="301" y="354"/>
                  </a:cubicBezTo>
                  <a:cubicBezTo>
                    <a:pt x="325" y="354"/>
                    <a:pt x="325" y="354"/>
                    <a:pt x="325" y="354"/>
                  </a:cubicBezTo>
                  <a:cubicBezTo>
                    <a:pt x="317" y="366"/>
                    <a:pt x="308" y="376"/>
                    <a:pt x="301" y="383"/>
                  </a:cubicBezTo>
                  <a:close/>
                  <a:moveTo>
                    <a:pt x="301" y="330"/>
                  </a:moveTo>
                  <a:cubicBezTo>
                    <a:pt x="301" y="300"/>
                    <a:pt x="301" y="300"/>
                    <a:pt x="301" y="300"/>
                  </a:cubicBezTo>
                  <a:cubicBezTo>
                    <a:pt x="345" y="300"/>
                    <a:pt x="345" y="300"/>
                    <a:pt x="345" y="300"/>
                  </a:cubicBezTo>
                  <a:cubicBezTo>
                    <a:pt x="344" y="311"/>
                    <a:pt x="342" y="321"/>
                    <a:pt x="338" y="330"/>
                  </a:cubicBezTo>
                  <a:lnTo>
                    <a:pt x="301" y="330"/>
                  </a:lnTo>
                  <a:close/>
                  <a:moveTo>
                    <a:pt x="370" y="300"/>
                  </a:moveTo>
                  <a:cubicBezTo>
                    <a:pt x="394" y="300"/>
                    <a:pt x="394" y="300"/>
                    <a:pt x="394" y="300"/>
                  </a:cubicBezTo>
                  <a:cubicBezTo>
                    <a:pt x="392" y="310"/>
                    <a:pt x="390" y="320"/>
                    <a:pt x="386" y="330"/>
                  </a:cubicBezTo>
                  <a:cubicBezTo>
                    <a:pt x="364" y="330"/>
                    <a:pt x="364" y="330"/>
                    <a:pt x="364" y="330"/>
                  </a:cubicBezTo>
                  <a:cubicBezTo>
                    <a:pt x="367" y="320"/>
                    <a:pt x="369" y="311"/>
                    <a:pt x="370" y="300"/>
                  </a:cubicBezTo>
                  <a:close/>
                  <a:moveTo>
                    <a:pt x="370" y="275"/>
                  </a:moveTo>
                  <a:cubicBezTo>
                    <a:pt x="369" y="265"/>
                    <a:pt x="367" y="255"/>
                    <a:pt x="364" y="246"/>
                  </a:cubicBezTo>
                  <a:cubicBezTo>
                    <a:pt x="386" y="246"/>
                    <a:pt x="386" y="246"/>
                    <a:pt x="386" y="246"/>
                  </a:cubicBezTo>
                  <a:cubicBezTo>
                    <a:pt x="390" y="255"/>
                    <a:pt x="392" y="265"/>
                    <a:pt x="394" y="275"/>
                  </a:cubicBezTo>
                  <a:lnTo>
                    <a:pt x="370" y="275"/>
                  </a:lnTo>
                  <a:close/>
                  <a:moveTo>
                    <a:pt x="371" y="221"/>
                  </a:moveTo>
                  <a:cubicBezTo>
                    <a:pt x="354" y="221"/>
                    <a:pt x="354" y="221"/>
                    <a:pt x="354" y="221"/>
                  </a:cubicBezTo>
                  <a:cubicBezTo>
                    <a:pt x="348" y="210"/>
                    <a:pt x="342" y="201"/>
                    <a:pt x="335" y="192"/>
                  </a:cubicBezTo>
                  <a:cubicBezTo>
                    <a:pt x="349" y="199"/>
                    <a:pt x="361" y="209"/>
                    <a:pt x="371" y="221"/>
                  </a:cubicBezTo>
                  <a:close/>
                  <a:moveTo>
                    <a:pt x="245" y="191"/>
                  </a:moveTo>
                  <a:cubicBezTo>
                    <a:pt x="239" y="199"/>
                    <a:pt x="232" y="210"/>
                    <a:pt x="226" y="221"/>
                  </a:cubicBezTo>
                  <a:cubicBezTo>
                    <a:pt x="206" y="221"/>
                    <a:pt x="206" y="221"/>
                    <a:pt x="206" y="221"/>
                  </a:cubicBezTo>
                  <a:cubicBezTo>
                    <a:pt x="217" y="208"/>
                    <a:pt x="230" y="198"/>
                    <a:pt x="245" y="191"/>
                  </a:cubicBezTo>
                  <a:close/>
                  <a:moveTo>
                    <a:pt x="206" y="354"/>
                  </a:moveTo>
                  <a:cubicBezTo>
                    <a:pt x="226" y="354"/>
                    <a:pt x="226" y="354"/>
                    <a:pt x="226" y="354"/>
                  </a:cubicBezTo>
                  <a:cubicBezTo>
                    <a:pt x="232" y="366"/>
                    <a:pt x="239" y="376"/>
                    <a:pt x="245" y="385"/>
                  </a:cubicBezTo>
                  <a:cubicBezTo>
                    <a:pt x="230" y="378"/>
                    <a:pt x="217" y="367"/>
                    <a:pt x="206" y="354"/>
                  </a:cubicBezTo>
                  <a:close/>
                  <a:moveTo>
                    <a:pt x="335" y="383"/>
                  </a:moveTo>
                  <a:cubicBezTo>
                    <a:pt x="342" y="375"/>
                    <a:pt x="348" y="365"/>
                    <a:pt x="354" y="354"/>
                  </a:cubicBezTo>
                  <a:cubicBezTo>
                    <a:pt x="371" y="354"/>
                    <a:pt x="371" y="354"/>
                    <a:pt x="371" y="354"/>
                  </a:cubicBezTo>
                  <a:cubicBezTo>
                    <a:pt x="361" y="366"/>
                    <a:pt x="349" y="376"/>
                    <a:pt x="335" y="38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700"/>
                <a:buFont typeface="Arial"/>
                <a:buNone/>
              </a:pPr>
              <a:endParaRPr sz="700" b="1" i="0" u="none" strike="noStrike" cap="none">
                <a:solidFill>
                  <a:srgbClr val="D04A0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9461;p189">
              <a:extLst>
                <a:ext uri="{FF2B5EF4-FFF2-40B4-BE49-F238E27FC236}">
                  <a16:creationId xmlns:a16="http://schemas.microsoft.com/office/drawing/2014/main" id="{E40D73B8-638B-41E0-9E6C-75C8B13D1BEA}"/>
                </a:ext>
              </a:extLst>
            </p:cNvPr>
            <p:cNvSpPr/>
            <p:nvPr/>
          </p:nvSpPr>
          <p:spPr>
            <a:xfrm>
              <a:off x="3277307" y="4251866"/>
              <a:ext cx="328717" cy="329184"/>
            </a:xfrm>
            <a:custGeom>
              <a:avLst/>
              <a:gdLst/>
              <a:ahLst/>
              <a:cxnLst/>
              <a:rect l="l" t="t" r="r" b="b"/>
              <a:pathLst>
                <a:path w="576" h="576" extrusionOk="0">
                  <a:moveTo>
                    <a:pt x="336" y="387"/>
                  </a:moveTo>
                  <a:cubicBezTo>
                    <a:pt x="241" y="387"/>
                    <a:pt x="241" y="387"/>
                    <a:pt x="241" y="387"/>
                  </a:cubicBezTo>
                  <a:cubicBezTo>
                    <a:pt x="241" y="363"/>
                    <a:pt x="241" y="363"/>
                    <a:pt x="241" y="363"/>
                  </a:cubicBezTo>
                  <a:cubicBezTo>
                    <a:pt x="265" y="363"/>
                    <a:pt x="265" y="363"/>
                    <a:pt x="265" y="363"/>
                  </a:cubicBezTo>
                  <a:cubicBezTo>
                    <a:pt x="265" y="227"/>
                    <a:pt x="265" y="227"/>
                    <a:pt x="265" y="227"/>
                  </a:cubicBezTo>
                  <a:cubicBezTo>
                    <a:pt x="241" y="227"/>
                    <a:pt x="241" y="227"/>
                    <a:pt x="241" y="227"/>
                  </a:cubicBezTo>
                  <a:cubicBezTo>
                    <a:pt x="241" y="203"/>
                    <a:pt x="241" y="203"/>
                    <a:pt x="241" y="203"/>
                  </a:cubicBezTo>
                  <a:cubicBezTo>
                    <a:pt x="313" y="203"/>
                    <a:pt x="313" y="203"/>
                    <a:pt x="313" y="203"/>
                  </a:cubicBezTo>
                  <a:cubicBezTo>
                    <a:pt x="313" y="363"/>
                    <a:pt x="313" y="363"/>
                    <a:pt x="313" y="363"/>
                  </a:cubicBezTo>
                  <a:cubicBezTo>
                    <a:pt x="336" y="363"/>
                    <a:pt x="336" y="363"/>
                    <a:pt x="336" y="363"/>
                  </a:cubicBezTo>
                  <a:lnTo>
                    <a:pt x="336" y="387"/>
                  </a:lnTo>
                  <a:close/>
                  <a:moveTo>
                    <a:pt x="361" y="339"/>
                  </a:moveTo>
                  <a:cubicBezTo>
                    <a:pt x="336" y="339"/>
                    <a:pt x="336" y="339"/>
                    <a:pt x="336" y="339"/>
                  </a:cubicBezTo>
                  <a:cubicBezTo>
                    <a:pt x="336" y="179"/>
                    <a:pt x="336" y="179"/>
                    <a:pt x="336" y="179"/>
                  </a:cubicBezTo>
                  <a:cubicBezTo>
                    <a:pt x="217" y="179"/>
                    <a:pt x="217" y="179"/>
                    <a:pt x="217" y="179"/>
                  </a:cubicBezTo>
                  <a:cubicBezTo>
                    <a:pt x="217" y="251"/>
                    <a:pt x="217" y="251"/>
                    <a:pt x="217" y="251"/>
                  </a:cubicBezTo>
                  <a:cubicBezTo>
                    <a:pt x="241" y="251"/>
                    <a:pt x="241" y="251"/>
                    <a:pt x="241" y="251"/>
                  </a:cubicBezTo>
                  <a:cubicBezTo>
                    <a:pt x="241" y="339"/>
                    <a:pt x="241" y="339"/>
                    <a:pt x="241" y="339"/>
                  </a:cubicBezTo>
                  <a:cubicBezTo>
                    <a:pt x="217" y="339"/>
                    <a:pt x="217" y="339"/>
                    <a:pt x="217" y="339"/>
                  </a:cubicBezTo>
                  <a:cubicBezTo>
                    <a:pt x="217" y="411"/>
                    <a:pt x="217" y="411"/>
                    <a:pt x="217" y="411"/>
                  </a:cubicBezTo>
                  <a:cubicBezTo>
                    <a:pt x="361" y="411"/>
                    <a:pt x="361" y="411"/>
                    <a:pt x="361" y="411"/>
                  </a:cubicBezTo>
                  <a:lnTo>
                    <a:pt x="361" y="339"/>
                  </a:lnTo>
                  <a:close/>
                  <a:moveTo>
                    <a:pt x="289" y="83"/>
                  </a:moveTo>
                  <a:cubicBezTo>
                    <a:pt x="289" y="83"/>
                    <a:pt x="289" y="83"/>
                    <a:pt x="289" y="83"/>
                  </a:cubicBezTo>
                  <a:cubicBezTo>
                    <a:pt x="302" y="83"/>
                    <a:pt x="313" y="94"/>
                    <a:pt x="313" y="107"/>
                  </a:cubicBezTo>
                  <a:cubicBezTo>
                    <a:pt x="313" y="121"/>
                    <a:pt x="302" y="131"/>
                    <a:pt x="289" y="131"/>
                  </a:cubicBezTo>
                  <a:cubicBezTo>
                    <a:pt x="275" y="131"/>
                    <a:pt x="265" y="121"/>
                    <a:pt x="265" y="107"/>
                  </a:cubicBezTo>
                  <a:cubicBezTo>
                    <a:pt x="265" y="94"/>
                    <a:pt x="275" y="83"/>
                    <a:pt x="289" y="83"/>
                  </a:cubicBezTo>
                  <a:close/>
                  <a:moveTo>
                    <a:pt x="289" y="155"/>
                  </a:moveTo>
                  <a:cubicBezTo>
                    <a:pt x="289" y="155"/>
                    <a:pt x="289" y="155"/>
                    <a:pt x="289" y="155"/>
                  </a:cubicBezTo>
                  <a:cubicBezTo>
                    <a:pt x="315" y="155"/>
                    <a:pt x="336" y="134"/>
                    <a:pt x="336" y="107"/>
                  </a:cubicBezTo>
                  <a:cubicBezTo>
                    <a:pt x="336" y="81"/>
                    <a:pt x="315" y="59"/>
                    <a:pt x="289" y="59"/>
                  </a:cubicBezTo>
                  <a:cubicBezTo>
                    <a:pt x="262" y="59"/>
                    <a:pt x="241" y="81"/>
                    <a:pt x="241" y="107"/>
                  </a:cubicBezTo>
                  <a:cubicBezTo>
                    <a:pt x="241" y="134"/>
                    <a:pt x="262" y="155"/>
                    <a:pt x="289" y="155"/>
                  </a:cubicBezTo>
                  <a:close/>
                  <a:moveTo>
                    <a:pt x="552" y="448"/>
                  </a:moveTo>
                  <a:cubicBezTo>
                    <a:pt x="173" y="448"/>
                    <a:pt x="173" y="448"/>
                    <a:pt x="173" y="448"/>
                  </a:cubicBezTo>
                  <a:cubicBezTo>
                    <a:pt x="104" y="517"/>
                    <a:pt x="104" y="517"/>
                    <a:pt x="104" y="517"/>
                  </a:cubicBezTo>
                  <a:cubicBezTo>
                    <a:pt x="104" y="448"/>
                    <a:pt x="104" y="448"/>
                    <a:pt x="104" y="448"/>
                  </a:cubicBezTo>
                  <a:cubicBezTo>
                    <a:pt x="25" y="448"/>
                    <a:pt x="25" y="448"/>
                    <a:pt x="25" y="448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2" y="25"/>
                    <a:pt x="552" y="25"/>
                    <a:pt x="552" y="25"/>
                  </a:cubicBezTo>
                  <a:lnTo>
                    <a:pt x="552" y="448"/>
                  </a:lnTo>
                  <a:close/>
                  <a:moveTo>
                    <a:pt x="0" y="0"/>
                  </a:moveTo>
                  <a:cubicBezTo>
                    <a:pt x="0" y="473"/>
                    <a:pt x="0" y="473"/>
                    <a:pt x="0" y="473"/>
                  </a:cubicBezTo>
                  <a:cubicBezTo>
                    <a:pt x="79" y="473"/>
                    <a:pt x="79" y="473"/>
                    <a:pt x="79" y="473"/>
                  </a:cubicBezTo>
                  <a:cubicBezTo>
                    <a:pt x="79" y="576"/>
                    <a:pt x="79" y="576"/>
                    <a:pt x="79" y="576"/>
                  </a:cubicBezTo>
                  <a:cubicBezTo>
                    <a:pt x="183" y="473"/>
                    <a:pt x="183" y="473"/>
                    <a:pt x="183" y="473"/>
                  </a:cubicBezTo>
                  <a:cubicBezTo>
                    <a:pt x="576" y="473"/>
                    <a:pt x="576" y="473"/>
                    <a:pt x="576" y="473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700"/>
                <a:buFont typeface="Arial"/>
                <a:buNone/>
              </a:pPr>
              <a:endParaRPr sz="700" b="1" i="0" u="none" strike="noStrike" cap="none">
                <a:solidFill>
                  <a:srgbClr val="D04A0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" name="Google Shape;9462;p189">
              <a:extLst>
                <a:ext uri="{FF2B5EF4-FFF2-40B4-BE49-F238E27FC236}">
                  <a16:creationId xmlns:a16="http://schemas.microsoft.com/office/drawing/2014/main" id="{5D1E43D8-0E7D-4FA7-AADD-F5F8EC317640}"/>
                </a:ext>
              </a:extLst>
            </p:cNvPr>
            <p:cNvSpPr/>
            <p:nvPr/>
          </p:nvSpPr>
          <p:spPr>
            <a:xfrm>
              <a:off x="5067717" y="4251866"/>
              <a:ext cx="328251" cy="329184"/>
            </a:xfrm>
            <a:custGeom>
              <a:avLst/>
              <a:gdLst/>
              <a:ahLst/>
              <a:cxnLst/>
              <a:rect l="l" t="t" r="r" b="b"/>
              <a:pathLst>
                <a:path w="704" h="706" extrusionOk="0">
                  <a:moveTo>
                    <a:pt x="704" y="0"/>
                  </a:moveTo>
                  <a:lnTo>
                    <a:pt x="0" y="0"/>
                  </a:lnTo>
                  <a:lnTo>
                    <a:pt x="0" y="706"/>
                  </a:lnTo>
                  <a:lnTo>
                    <a:pt x="704" y="706"/>
                  </a:lnTo>
                  <a:lnTo>
                    <a:pt x="704" y="706"/>
                  </a:lnTo>
                  <a:lnTo>
                    <a:pt x="704" y="0"/>
                  </a:lnTo>
                  <a:lnTo>
                    <a:pt x="704" y="0"/>
                  </a:lnTo>
                  <a:close/>
                  <a:moveTo>
                    <a:pt x="30" y="677"/>
                  </a:moveTo>
                  <a:lnTo>
                    <a:pt x="30" y="31"/>
                  </a:lnTo>
                  <a:lnTo>
                    <a:pt x="675" y="31"/>
                  </a:lnTo>
                  <a:lnTo>
                    <a:pt x="675" y="677"/>
                  </a:lnTo>
                  <a:lnTo>
                    <a:pt x="30" y="677"/>
                  </a:lnTo>
                  <a:close/>
                  <a:moveTo>
                    <a:pt x="607" y="242"/>
                  </a:moveTo>
                  <a:lnTo>
                    <a:pt x="484" y="134"/>
                  </a:lnTo>
                  <a:lnTo>
                    <a:pt x="475" y="128"/>
                  </a:lnTo>
                  <a:lnTo>
                    <a:pt x="464" y="128"/>
                  </a:lnTo>
                  <a:lnTo>
                    <a:pt x="239" y="128"/>
                  </a:lnTo>
                  <a:lnTo>
                    <a:pt x="228" y="128"/>
                  </a:lnTo>
                  <a:lnTo>
                    <a:pt x="221" y="134"/>
                  </a:lnTo>
                  <a:lnTo>
                    <a:pt x="98" y="242"/>
                  </a:lnTo>
                  <a:lnTo>
                    <a:pt x="74" y="261"/>
                  </a:lnTo>
                  <a:lnTo>
                    <a:pt x="94" y="285"/>
                  </a:lnTo>
                  <a:lnTo>
                    <a:pt x="330" y="563"/>
                  </a:lnTo>
                  <a:lnTo>
                    <a:pt x="353" y="590"/>
                  </a:lnTo>
                  <a:lnTo>
                    <a:pt x="375" y="563"/>
                  </a:lnTo>
                  <a:lnTo>
                    <a:pt x="611" y="285"/>
                  </a:lnTo>
                  <a:lnTo>
                    <a:pt x="631" y="261"/>
                  </a:lnTo>
                  <a:lnTo>
                    <a:pt x="607" y="242"/>
                  </a:lnTo>
                  <a:close/>
                  <a:moveTo>
                    <a:pt x="367" y="157"/>
                  </a:moveTo>
                  <a:lnTo>
                    <a:pt x="448" y="157"/>
                  </a:lnTo>
                  <a:lnTo>
                    <a:pt x="433" y="229"/>
                  </a:lnTo>
                  <a:lnTo>
                    <a:pt x="367" y="157"/>
                  </a:lnTo>
                  <a:close/>
                  <a:moveTo>
                    <a:pt x="271" y="229"/>
                  </a:moveTo>
                  <a:lnTo>
                    <a:pt x="255" y="157"/>
                  </a:lnTo>
                  <a:lnTo>
                    <a:pt x="337" y="157"/>
                  </a:lnTo>
                  <a:lnTo>
                    <a:pt x="271" y="229"/>
                  </a:lnTo>
                  <a:close/>
                  <a:moveTo>
                    <a:pt x="352" y="185"/>
                  </a:moveTo>
                  <a:lnTo>
                    <a:pt x="412" y="250"/>
                  </a:lnTo>
                  <a:lnTo>
                    <a:pt x="292" y="250"/>
                  </a:lnTo>
                  <a:lnTo>
                    <a:pt x="352" y="185"/>
                  </a:lnTo>
                  <a:close/>
                  <a:moveTo>
                    <a:pt x="426" y="281"/>
                  </a:moveTo>
                  <a:lnTo>
                    <a:pt x="352" y="506"/>
                  </a:lnTo>
                  <a:lnTo>
                    <a:pt x="279" y="281"/>
                  </a:lnTo>
                  <a:lnTo>
                    <a:pt x="426" y="281"/>
                  </a:lnTo>
                  <a:close/>
                  <a:moveTo>
                    <a:pt x="247" y="281"/>
                  </a:moveTo>
                  <a:lnTo>
                    <a:pt x="319" y="503"/>
                  </a:lnTo>
                  <a:lnTo>
                    <a:pt x="131" y="281"/>
                  </a:lnTo>
                  <a:lnTo>
                    <a:pt x="247" y="281"/>
                  </a:lnTo>
                  <a:close/>
                  <a:moveTo>
                    <a:pt x="457" y="281"/>
                  </a:moveTo>
                  <a:lnTo>
                    <a:pt x="574" y="281"/>
                  </a:lnTo>
                  <a:lnTo>
                    <a:pt x="384" y="506"/>
                  </a:lnTo>
                  <a:lnTo>
                    <a:pt x="457" y="281"/>
                  </a:lnTo>
                  <a:close/>
                  <a:moveTo>
                    <a:pt x="458" y="250"/>
                  </a:moveTo>
                  <a:lnTo>
                    <a:pt x="478" y="168"/>
                  </a:lnTo>
                  <a:lnTo>
                    <a:pt x="571" y="250"/>
                  </a:lnTo>
                  <a:lnTo>
                    <a:pt x="458" y="250"/>
                  </a:lnTo>
                  <a:close/>
                  <a:moveTo>
                    <a:pt x="227" y="168"/>
                  </a:moveTo>
                  <a:lnTo>
                    <a:pt x="246" y="250"/>
                  </a:lnTo>
                  <a:lnTo>
                    <a:pt x="134" y="250"/>
                  </a:lnTo>
                  <a:lnTo>
                    <a:pt x="227" y="16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700"/>
                <a:buFont typeface="Arial"/>
                <a:buNone/>
              </a:pPr>
              <a:endParaRPr sz="700" b="1" i="0" u="none" strike="noStrike" cap="none">
                <a:solidFill>
                  <a:srgbClr val="D04A0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" name="Google Shape;9463;p189">
              <a:extLst>
                <a:ext uri="{FF2B5EF4-FFF2-40B4-BE49-F238E27FC236}">
                  <a16:creationId xmlns:a16="http://schemas.microsoft.com/office/drawing/2014/main" id="{A59DE8ED-E9C9-43CC-A9F5-F30EFCECF1C5}"/>
                </a:ext>
              </a:extLst>
            </p:cNvPr>
            <p:cNvSpPr/>
            <p:nvPr/>
          </p:nvSpPr>
          <p:spPr>
            <a:xfrm rot="5400000" flipH="1">
              <a:off x="2102047" y="4718526"/>
              <a:ext cx="983274" cy="223753"/>
            </a:xfrm>
            <a:prstGeom prst="trapezoid">
              <a:avLst>
                <a:gd name="adj" fmla="val 25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" name="Google Shape;9464;p189">
              <a:extLst>
                <a:ext uri="{FF2B5EF4-FFF2-40B4-BE49-F238E27FC236}">
                  <a16:creationId xmlns:a16="http://schemas.microsoft.com/office/drawing/2014/main" id="{602A59A7-7068-407E-81BB-79871CBF981B}"/>
                </a:ext>
              </a:extLst>
            </p:cNvPr>
            <p:cNvSpPr/>
            <p:nvPr/>
          </p:nvSpPr>
          <p:spPr>
            <a:xfrm rot="5400000" flipH="1">
              <a:off x="3891719" y="4718526"/>
              <a:ext cx="983274" cy="223753"/>
            </a:xfrm>
            <a:prstGeom prst="trapezoid">
              <a:avLst>
                <a:gd name="adj" fmla="val 25000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5" name="Google Shape;9465;p189">
              <a:extLst>
                <a:ext uri="{FF2B5EF4-FFF2-40B4-BE49-F238E27FC236}">
                  <a16:creationId xmlns:a16="http://schemas.microsoft.com/office/drawing/2014/main" id="{10908D9E-D688-497D-A086-31A469325E1A}"/>
                </a:ext>
              </a:extLst>
            </p:cNvPr>
            <p:cNvSpPr/>
            <p:nvPr/>
          </p:nvSpPr>
          <p:spPr>
            <a:xfrm rot="5400000" flipH="1">
              <a:off x="5681391" y="4718526"/>
              <a:ext cx="983274" cy="223753"/>
            </a:xfrm>
            <a:prstGeom prst="trapezoid">
              <a:avLst>
                <a:gd name="adj" fmla="val 25000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98023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263,8,Model Accuracy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85</TotalTime>
  <Words>595</Words>
  <Application>Microsoft Office PowerPoint</Application>
  <PresentationFormat>Widescreen</PresentationFormat>
  <Paragraphs>80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-apple-system</vt:lpstr>
      <vt:lpstr>Arial</vt:lpstr>
      <vt:lpstr>Century Gothic</vt:lpstr>
      <vt:lpstr>Georgia</vt:lpstr>
      <vt:lpstr>Wingdings 3</vt:lpstr>
      <vt:lpstr>Ion</vt:lpstr>
      <vt:lpstr>think-cell Slide</vt:lpstr>
      <vt:lpstr>Spam Detection Model</vt:lpstr>
      <vt:lpstr>Group Members</vt:lpstr>
      <vt:lpstr>Overview</vt:lpstr>
      <vt:lpstr>Data Preparation</vt:lpstr>
      <vt:lpstr>Text Pre-processing </vt:lpstr>
      <vt:lpstr>Feature Extraction</vt:lpstr>
      <vt:lpstr>Training the model</vt:lpstr>
      <vt:lpstr>Model Accuracy</vt:lpstr>
      <vt:lpstr>Prediction</vt:lpstr>
      <vt:lpstr>Dem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am Detection Model</dc:title>
  <dc:creator>KaranDeep Singh</dc:creator>
  <cp:lastModifiedBy>Mostapha Beydoun (MiddleEast)</cp:lastModifiedBy>
  <cp:revision>12</cp:revision>
  <dcterms:created xsi:type="dcterms:W3CDTF">2023-08-09T17:44:29Z</dcterms:created>
  <dcterms:modified xsi:type="dcterms:W3CDTF">2023-08-09T21:14:22Z</dcterms:modified>
</cp:coreProperties>
</file>